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3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6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5.xml" ContentType="application/vnd.openxmlformats-officedocument.presentationml.comments+xml"/>
  <Override PartName="/ppt/comments/comment6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4" r:id="rId3"/>
    <p:sldMasterId id="2147483865" r:id="rId4"/>
    <p:sldMasterId id="2147483894" r:id="rId5"/>
    <p:sldMasterId id="2147483923" r:id="rId6"/>
    <p:sldMasterId id="2147483935" r:id="rId7"/>
  </p:sldMasterIdLst>
  <p:notesMasterIdLst>
    <p:notesMasterId r:id="rId71"/>
  </p:notesMasterIdLst>
  <p:sldIdLst>
    <p:sldId id="256" r:id="rId8"/>
    <p:sldId id="257" r:id="rId9"/>
    <p:sldId id="304" r:id="rId10"/>
    <p:sldId id="260" r:id="rId11"/>
    <p:sldId id="305" r:id="rId12"/>
    <p:sldId id="309" r:id="rId13"/>
    <p:sldId id="308" r:id="rId14"/>
    <p:sldId id="296" r:id="rId15"/>
    <p:sldId id="297" r:id="rId16"/>
    <p:sldId id="300" r:id="rId17"/>
    <p:sldId id="310" r:id="rId18"/>
    <p:sldId id="299" r:id="rId19"/>
    <p:sldId id="302" r:id="rId20"/>
    <p:sldId id="303" r:id="rId21"/>
    <p:sldId id="268" r:id="rId22"/>
    <p:sldId id="269" r:id="rId23"/>
    <p:sldId id="291" r:id="rId24"/>
    <p:sldId id="272" r:id="rId25"/>
    <p:sldId id="292" r:id="rId26"/>
    <p:sldId id="293" r:id="rId27"/>
    <p:sldId id="294" r:id="rId28"/>
    <p:sldId id="295" r:id="rId29"/>
    <p:sldId id="284" r:id="rId30"/>
    <p:sldId id="275" r:id="rId31"/>
    <p:sldId id="289" r:id="rId32"/>
    <p:sldId id="290" r:id="rId33"/>
    <p:sldId id="285" r:id="rId34"/>
    <p:sldId id="283" r:id="rId35"/>
    <p:sldId id="278" r:id="rId36"/>
    <p:sldId id="279" r:id="rId37"/>
    <p:sldId id="280" r:id="rId38"/>
    <p:sldId id="281" r:id="rId39"/>
    <p:sldId id="311" r:id="rId40"/>
    <p:sldId id="262" r:id="rId41"/>
    <p:sldId id="277" r:id="rId42"/>
    <p:sldId id="2147470663" r:id="rId43"/>
    <p:sldId id="321" r:id="rId44"/>
    <p:sldId id="2147470821" r:id="rId45"/>
    <p:sldId id="2147470822" r:id="rId46"/>
    <p:sldId id="2147470853" r:id="rId47"/>
    <p:sldId id="2147470820" r:id="rId48"/>
    <p:sldId id="2147470854" r:id="rId49"/>
    <p:sldId id="2147470855" r:id="rId50"/>
    <p:sldId id="2147470856" r:id="rId51"/>
    <p:sldId id="2147470858" r:id="rId52"/>
    <p:sldId id="2147470861" r:id="rId53"/>
    <p:sldId id="2147470860" r:id="rId54"/>
    <p:sldId id="2147470862" r:id="rId55"/>
    <p:sldId id="2147470863" r:id="rId56"/>
    <p:sldId id="2147470776" r:id="rId57"/>
    <p:sldId id="380" r:id="rId58"/>
    <p:sldId id="2147470715" r:id="rId59"/>
    <p:sldId id="301" r:id="rId60"/>
    <p:sldId id="2147470864" r:id="rId61"/>
    <p:sldId id="2147470865" r:id="rId62"/>
    <p:sldId id="2147470866" r:id="rId63"/>
    <p:sldId id="2147470869" r:id="rId64"/>
    <p:sldId id="2147470870" r:id="rId65"/>
    <p:sldId id="2147470871" r:id="rId66"/>
    <p:sldId id="2147470867" r:id="rId67"/>
    <p:sldId id="2147470868" r:id="rId68"/>
    <p:sldId id="2147470872" r:id="rId69"/>
    <p:sldId id="314" r:id="rId7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hrokh ezzatzadegan" initials="se" lastIdx="8" clrIdx="0">
    <p:extLst>
      <p:ext uri="{19B8F6BF-5375-455C-9EA6-DF929625EA0E}">
        <p15:presenceInfo xmlns:p15="http://schemas.microsoft.com/office/powerpoint/2012/main" userId="0554a3e82bc31fd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C9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22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6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61" Type="http://schemas.openxmlformats.org/officeDocument/2006/relationships/slide" Target="slides/slide54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8T09:29:55.245" idx="4">
    <p:pos x="10" y="10"/>
    <p:text>UTD</p:text>
    <p:extLst>
      <p:ext uri="{C676402C-5697-4E1C-873F-D02D1690AC5C}">
        <p15:threadingInfo xmlns:p15="http://schemas.microsoft.com/office/powerpoint/2012/main" timeZoneBias="-21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7T06:57:57.773" idx="3">
    <p:pos x="10" y="10"/>
    <p:text>target blood pressure in UTD?</p:text>
    <p:extLst>
      <p:ext uri="{C676402C-5697-4E1C-873F-D02D1690AC5C}">
        <p15:threadingInfo xmlns:p15="http://schemas.microsoft.com/office/powerpoint/2012/main" timeZoneBias="-21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6T21:33:31.633" idx="2">
    <p:pos x="10" y="10"/>
    <p:text>hiden</p:text>
    <p:extLst>
      <p:ext uri="{C676402C-5697-4E1C-873F-D02D1690AC5C}">
        <p15:threadingInfo xmlns:p15="http://schemas.microsoft.com/office/powerpoint/2012/main" timeZoneBias="-21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6T21:24:15.842" idx="1">
    <p:pos x="10" y="10"/>
    <p:text>details of last sentence</p:text>
    <p:extLst>
      <p:ext uri="{C676402C-5697-4E1C-873F-D02D1690AC5C}">
        <p15:threadingInfo xmlns:p15="http://schemas.microsoft.com/office/powerpoint/2012/main" timeZoneBias="-21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7T22:39:51.441" idx="7">
    <p:pos x="10" y="10"/>
    <p:text>what??</p:text>
    <p:extLst>
      <p:ext uri="{C676402C-5697-4E1C-873F-D02D1690AC5C}">
        <p15:threadingInfo xmlns:p15="http://schemas.microsoft.com/office/powerpoint/2012/main" timeZoneBias="-21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5-17T22:46:56.816" idx="8">
    <p:pos x="10" y="10"/>
    <p:text>article??</p:text>
    <p:extLst>
      <p:ext uri="{C676402C-5697-4E1C-873F-D02D1690AC5C}">
        <p15:threadingInfo xmlns:p15="http://schemas.microsoft.com/office/powerpoint/2012/main" timeZoneBias="-21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74E20D-2889-40B3-829A-9F96ACE695B8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FC8EE4D-7504-4F63-9207-88E0EEE74650}">
      <dgm:prSet phldrT="[Text]"/>
      <dgm:spPr/>
      <dgm:t>
        <a:bodyPr/>
        <a:lstStyle/>
        <a:p>
          <a:r>
            <a:rPr lang="en-US" dirty="0"/>
            <a:t>1</a:t>
          </a:r>
        </a:p>
      </dgm:t>
    </dgm:pt>
    <dgm:pt modelId="{E4A6EC55-D7D4-4924-AADC-46BD51E8A753}" type="parTrans" cxnId="{6F726BD9-4E50-4992-9F03-71AFBA6D2659}">
      <dgm:prSet/>
      <dgm:spPr/>
      <dgm:t>
        <a:bodyPr/>
        <a:lstStyle/>
        <a:p>
          <a:endParaRPr lang="en-US"/>
        </a:p>
      </dgm:t>
    </dgm:pt>
    <dgm:pt modelId="{B710C10C-E8D5-4E4E-BDBC-16DC7D89B22B}" type="sibTrans" cxnId="{6F726BD9-4E50-4992-9F03-71AFBA6D2659}">
      <dgm:prSet/>
      <dgm:spPr/>
      <dgm:t>
        <a:bodyPr/>
        <a:lstStyle/>
        <a:p>
          <a:endParaRPr lang="en-US"/>
        </a:p>
      </dgm:t>
    </dgm:pt>
    <dgm:pt modelId="{7855142D-2AF9-40FE-87F5-A54462B1E52A}">
      <dgm:prSet phldrT="[Text]"/>
      <dgm:spPr/>
      <dgm:t>
        <a:bodyPr/>
        <a:lstStyle/>
        <a:p>
          <a:r>
            <a:rPr lang="en-US" dirty="0"/>
            <a:t>Hypertension is the most prevalent modifiable risk factor for </a:t>
          </a:r>
          <a:r>
            <a:rPr lang="en-US" dirty="0" err="1"/>
            <a:t>haemorrhagic</a:t>
          </a:r>
          <a:r>
            <a:rPr lang="en-US" dirty="0"/>
            <a:t> and </a:t>
          </a:r>
          <a:r>
            <a:rPr lang="en-US" dirty="0" err="1"/>
            <a:t>ischaemic</a:t>
          </a:r>
          <a:r>
            <a:rPr lang="en-US" dirty="0"/>
            <a:t> stroke.</a:t>
          </a:r>
        </a:p>
      </dgm:t>
    </dgm:pt>
    <dgm:pt modelId="{0B3C16F4-9A3F-48BB-B399-52247A1D2044}" type="parTrans" cxnId="{4DC58042-CE27-467B-9D24-4C5F8B466727}">
      <dgm:prSet/>
      <dgm:spPr/>
      <dgm:t>
        <a:bodyPr/>
        <a:lstStyle/>
        <a:p>
          <a:endParaRPr lang="en-US"/>
        </a:p>
      </dgm:t>
    </dgm:pt>
    <dgm:pt modelId="{D80A6FD2-67E7-47FB-A6EA-A28862D0DA76}" type="sibTrans" cxnId="{4DC58042-CE27-467B-9D24-4C5F8B466727}">
      <dgm:prSet/>
      <dgm:spPr/>
      <dgm:t>
        <a:bodyPr/>
        <a:lstStyle/>
        <a:p>
          <a:endParaRPr lang="en-US"/>
        </a:p>
      </dgm:t>
    </dgm:pt>
    <dgm:pt modelId="{8AE9EF5F-6451-4353-B09A-AE41437C5BE1}">
      <dgm:prSet phldrT="[Text]"/>
      <dgm:spPr/>
      <dgm:t>
        <a:bodyPr/>
        <a:lstStyle/>
        <a:p>
          <a:r>
            <a:rPr lang="en-US" dirty="0"/>
            <a:t>2</a:t>
          </a:r>
        </a:p>
      </dgm:t>
    </dgm:pt>
    <dgm:pt modelId="{4914A297-D00C-4615-A5CA-6F41CE5029C6}" type="parTrans" cxnId="{7FCD0CF7-5562-4989-BFFB-5174CC6B3E3D}">
      <dgm:prSet/>
      <dgm:spPr/>
      <dgm:t>
        <a:bodyPr/>
        <a:lstStyle/>
        <a:p>
          <a:endParaRPr lang="en-US"/>
        </a:p>
      </dgm:t>
    </dgm:pt>
    <dgm:pt modelId="{30173FEE-D65D-48DF-938B-B1AA6B3830E0}" type="sibTrans" cxnId="{7FCD0CF7-5562-4989-BFFB-5174CC6B3E3D}">
      <dgm:prSet/>
      <dgm:spPr/>
      <dgm:t>
        <a:bodyPr/>
        <a:lstStyle/>
        <a:p>
          <a:endParaRPr lang="en-US"/>
        </a:p>
      </dgm:t>
    </dgm:pt>
    <dgm:pt modelId="{22B76F4E-EBC2-4F59-A7E4-22DBDD70CE32}">
      <dgm:prSet phldrT="[Text]"/>
      <dgm:spPr/>
      <dgm:t>
        <a:bodyPr/>
        <a:lstStyle/>
        <a:p>
          <a:r>
            <a:rPr lang="en-US" dirty="0"/>
            <a:t>About 70% of patients with a stroke have a history of hypertension.</a:t>
          </a:r>
        </a:p>
      </dgm:t>
    </dgm:pt>
    <dgm:pt modelId="{289B077B-D2B5-48E9-826D-C3A982C9C9BB}" type="parTrans" cxnId="{BD498777-AAAF-42B6-AFAB-0BE5C9765BAB}">
      <dgm:prSet/>
      <dgm:spPr/>
      <dgm:t>
        <a:bodyPr/>
        <a:lstStyle/>
        <a:p>
          <a:endParaRPr lang="en-US"/>
        </a:p>
      </dgm:t>
    </dgm:pt>
    <dgm:pt modelId="{65D6E5DB-9175-4819-B099-487328916D71}" type="sibTrans" cxnId="{BD498777-AAAF-42B6-AFAB-0BE5C9765BAB}">
      <dgm:prSet/>
      <dgm:spPr/>
      <dgm:t>
        <a:bodyPr/>
        <a:lstStyle/>
        <a:p>
          <a:endParaRPr lang="en-US"/>
        </a:p>
      </dgm:t>
    </dgm:pt>
    <dgm:pt modelId="{392B8D40-1E99-474B-86C0-EA89BBF4D3FA}">
      <dgm:prSet phldrT="[Text]"/>
      <dgm:spPr/>
      <dgm:t>
        <a:bodyPr/>
        <a:lstStyle/>
        <a:p>
          <a:r>
            <a:rPr lang="en-US" dirty="0"/>
            <a:t>3</a:t>
          </a:r>
        </a:p>
      </dgm:t>
    </dgm:pt>
    <dgm:pt modelId="{1BA3C0C4-E5F7-4374-BB98-7E4614392461}" type="parTrans" cxnId="{1FDB7D7D-508D-4B10-B8A1-A92EED6E1768}">
      <dgm:prSet/>
      <dgm:spPr/>
      <dgm:t>
        <a:bodyPr/>
        <a:lstStyle/>
        <a:p>
          <a:endParaRPr lang="en-US"/>
        </a:p>
      </dgm:t>
    </dgm:pt>
    <dgm:pt modelId="{7C4BEB13-67C2-48CC-B15F-B505CAFC7BCB}" type="sibTrans" cxnId="{1FDB7D7D-508D-4B10-B8A1-A92EED6E1768}">
      <dgm:prSet/>
      <dgm:spPr/>
      <dgm:t>
        <a:bodyPr/>
        <a:lstStyle/>
        <a:p>
          <a:endParaRPr lang="en-US"/>
        </a:p>
      </dgm:t>
    </dgm:pt>
    <dgm:pt modelId="{198909AE-87B1-4B73-A40F-3C87298A85BE}">
      <dgm:prSet phldrT="[Text]"/>
      <dgm:spPr/>
      <dgm:t>
        <a:bodyPr/>
        <a:lstStyle/>
        <a:p>
          <a:r>
            <a:rPr lang="en-US" dirty="0"/>
            <a:t>Hypertension predicts stroke recurrence, and BP reduction reduces risks for recurrent stroke.</a:t>
          </a:r>
        </a:p>
      </dgm:t>
    </dgm:pt>
    <dgm:pt modelId="{13DFC7AB-7304-4644-B7D5-5F515AE37B29}" type="parTrans" cxnId="{351B7202-5928-4F7A-8F83-D8B387F1432D}">
      <dgm:prSet/>
      <dgm:spPr/>
      <dgm:t>
        <a:bodyPr/>
        <a:lstStyle/>
        <a:p>
          <a:endParaRPr lang="en-US"/>
        </a:p>
      </dgm:t>
    </dgm:pt>
    <dgm:pt modelId="{18953C41-90D7-4513-858E-FAB7B95770EF}" type="sibTrans" cxnId="{351B7202-5928-4F7A-8F83-D8B387F1432D}">
      <dgm:prSet/>
      <dgm:spPr/>
      <dgm:t>
        <a:bodyPr/>
        <a:lstStyle/>
        <a:p>
          <a:endParaRPr lang="en-US"/>
        </a:p>
      </dgm:t>
    </dgm:pt>
    <dgm:pt modelId="{6A56B405-CD2F-4DFA-B6E3-F44B01940CAF}" type="pres">
      <dgm:prSet presAssocID="{0474E20D-2889-40B3-829A-9F96ACE695B8}" presName="Name0" presStyleCnt="0">
        <dgm:presLayoutVars>
          <dgm:dir/>
          <dgm:animLvl val="lvl"/>
          <dgm:resizeHandles val="exact"/>
        </dgm:presLayoutVars>
      </dgm:prSet>
      <dgm:spPr/>
    </dgm:pt>
    <dgm:pt modelId="{B5419C14-4EF1-4E8D-8B61-4AD93DB39996}" type="pres">
      <dgm:prSet presAssocID="{6FC8EE4D-7504-4F63-9207-88E0EEE74650}" presName="linNode" presStyleCnt="0"/>
      <dgm:spPr/>
    </dgm:pt>
    <dgm:pt modelId="{574A4414-A540-495F-B41B-6C5433E0137B}" type="pres">
      <dgm:prSet presAssocID="{6FC8EE4D-7504-4F63-9207-88E0EEE74650}" presName="parentText" presStyleLbl="node1" presStyleIdx="0" presStyleCnt="3" custScaleX="60384">
        <dgm:presLayoutVars>
          <dgm:chMax val="1"/>
          <dgm:bulletEnabled val="1"/>
        </dgm:presLayoutVars>
      </dgm:prSet>
      <dgm:spPr/>
    </dgm:pt>
    <dgm:pt modelId="{9BBA51BE-2FD2-48B6-8BFA-3C791E9E47DC}" type="pres">
      <dgm:prSet presAssocID="{6FC8EE4D-7504-4F63-9207-88E0EEE74650}" presName="descendantText" presStyleLbl="alignAccFollowNode1" presStyleIdx="0" presStyleCnt="3">
        <dgm:presLayoutVars>
          <dgm:bulletEnabled val="1"/>
        </dgm:presLayoutVars>
      </dgm:prSet>
      <dgm:spPr/>
    </dgm:pt>
    <dgm:pt modelId="{1660B4CD-ABC9-431C-8DFC-DBCCECC3DD7E}" type="pres">
      <dgm:prSet presAssocID="{B710C10C-E8D5-4E4E-BDBC-16DC7D89B22B}" presName="sp" presStyleCnt="0"/>
      <dgm:spPr/>
    </dgm:pt>
    <dgm:pt modelId="{66EAFDDA-621E-481F-B984-A7F2C2A6414B}" type="pres">
      <dgm:prSet presAssocID="{8AE9EF5F-6451-4353-B09A-AE41437C5BE1}" presName="linNode" presStyleCnt="0"/>
      <dgm:spPr/>
    </dgm:pt>
    <dgm:pt modelId="{8092F217-E9F8-4A64-99CC-923CD29C4486}" type="pres">
      <dgm:prSet presAssocID="{8AE9EF5F-6451-4353-B09A-AE41437C5BE1}" presName="parentText" presStyleLbl="node1" presStyleIdx="1" presStyleCnt="3" custScaleX="59281">
        <dgm:presLayoutVars>
          <dgm:chMax val="1"/>
          <dgm:bulletEnabled val="1"/>
        </dgm:presLayoutVars>
      </dgm:prSet>
      <dgm:spPr/>
    </dgm:pt>
    <dgm:pt modelId="{08B256B5-14F1-4092-BC5A-1DE9755A2319}" type="pres">
      <dgm:prSet presAssocID="{8AE9EF5F-6451-4353-B09A-AE41437C5BE1}" presName="descendantText" presStyleLbl="alignAccFollowNode1" presStyleIdx="1" presStyleCnt="3">
        <dgm:presLayoutVars>
          <dgm:bulletEnabled val="1"/>
        </dgm:presLayoutVars>
      </dgm:prSet>
      <dgm:spPr/>
    </dgm:pt>
    <dgm:pt modelId="{8CCC313A-890D-4800-BE12-D3C67F63D0D1}" type="pres">
      <dgm:prSet presAssocID="{30173FEE-D65D-48DF-938B-B1AA6B3830E0}" presName="sp" presStyleCnt="0"/>
      <dgm:spPr/>
    </dgm:pt>
    <dgm:pt modelId="{F8414F9C-E848-47D5-BFBE-594F41027433}" type="pres">
      <dgm:prSet presAssocID="{392B8D40-1E99-474B-86C0-EA89BBF4D3FA}" presName="linNode" presStyleCnt="0"/>
      <dgm:spPr/>
    </dgm:pt>
    <dgm:pt modelId="{C84A7352-A98F-4738-9888-96371BBB12AE}" type="pres">
      <dgm:prSet presAssocID="{392B8D40-1E99-474B-86C0-EA89BBF4D3FA}" presName="parentText" presStyleLbl="node1" presStyleIdx="2" presStyleCnt="3" custScaleX="57628">
        <dgm:presLayoutVars>
          <dgm:chMax val="1"/>
          <dgm:bulletEnabled val="1"/>
        </dgm:presLayoutVars>
      </dgm:prSet>
      <dgm:spPr/>
    </dgm:pt>
    <dgm:pt modelId="{830C3205-1CCB-4288-9BC9-E2E5EB22B827}" type="pres">
      <dgm:prSet presAssocID="{392B8D40-1E99-474B-86C0-EA89BBF4D3FA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351B7202-5928-4F7A-8F83-D8B387F1432D}" srcId="{392B8D40-1E99-474B-86C0-EA89BBF4D3FA}" destId="{198909AE-87B1-4B73-A40F-3C87298A85BE}" srcOrd="0" destOrd="0" parTransId="{13DFC7AB-7304-4644-B7D5-5F515AE37B29}" sibTransId="{18953C41-90D7-4513-858E-FAB7B95770EF}"/>
    <dgm:cxn modelId="{4DC58042-CE27-467B-9D24-4C5F8B466727}" srcId="{6FC8EE4D-7504-4F63-9207-88E0EEE74650}" destId="{7855142D-2AF9-40FE-87F5-A54462B1E52A}" srcOrd="0" destOrd="0" parTransId="{0B3C16F4-9A3F-48BB-B399-52247A1D2044}" sibTransId="{D80A6FD2-67E7-47FB-A6EA-A28862D0DA76}"/>
    <dgm:cxn modelId="{A72D1D57-7903-4589-A474-100D0F285C22}" type="presOf" srcId="{8AE9EF5F-6451-4353-B09A-AE41437C5BE1}" destId="{8092F217-E9F8-4A64-99CC-923CD29C4486}" srcOrd="0" destOrd="0" presId="urn:microsoft.com/office/officeart/2005/8/layout/vList5"/>
    <dgm:cxn modelId="{BD498777-AAAF-42B6-AFAB-0BE5C9765BAB}" srcId="{8AE9EF5F-6451-4353-B09A-AE41437C5BE1}" destId="{22B76F4E-EBC2-4F59-A7E4-22DBDD70CE32}" srcOrd="0" destOrd="0" parTransId="{289B077B-D2B5-48E9-826D-C3A982C9C9BB}" sibTransId="{65D6E5DB-9175-4819-B099-487328916D71}"/>
    <dgm:cxn modelId="{1FDB7D7D-508D-4B10-B8A1-A92EED6E1768}" srcId="{0474E20D-2889-40B3-829A-9F96ACE695B8}" destId="{392B8D40-1E99-474B-86C0-EA89BBF4D3FA}" srcOrd="2" destOrd="0" parTransId="{1BA3C0C4-E5F7-4374-BB98-7E4614392461}" sibTransId="{7C4BEB13-67C2-48CC-B15F-B505CAFC7BCB}"/>
    <dgm:cxn modelId="{DAB0B8A7-1B2D-4368-8EE8-FD652CAFCD09}" type="presOf" srcId="{392B8D40-1E99-474B-86C0-EA89BBF4D3FA}" destId="{C84A7352-A98F-4738-9888-96371BBB12AE}" srcOrd="0" destOrd="0" presId="urn:microsoft.com/office/officeart/2005/8/layout/vList5"/>
    <dgm:cxn modelId="{D8C546C6-50C5-4C04-85C7-5F5C541D260D}" type="presOf" srcId="{6FC8EE4D-7504-4F63-9207-88E0EEE74650}" destId="{574A4414-A540-495F-B41B-6C5433E0137B}" srcOrd="0" destOrd="0" presId="urn:microsoft.com/office/officeart/2005/8/layout/vList5"/>
    <dgm:cxn modelId="{9C673ACC-0CC1-4D65-956E-5DAF7CC73654}" type="presOf" srcId="{22B76F4E-EBC2-4F59-A7E4-22DBDD70CE32}" destId="{08B256B5-14F1-4092-BC5A-1DE9755A2319}" srcOrd="0" destOrd="0" presId="urn:microsoft.com/office/officeart/2005/8/layout/vList5"/>
    <dgm:cxn modelId="{6F726BD9-4E50-4992-9F03-71AFBA6D2659}" srcId="{0474E20D-2889-40B3-829A-9F96ACE695B8}" destId="{6FC8EE4D-7504-4F63-9207-88E0EEE74650}" srcOrd="0" destOrd="0" parTransId="{E4A6EC55-D7D4-4924-AADC-46BD51E8A753}" sibTransId="{B710C10C-E8D5-4E4E-BDBC-16DC7D89B22B}"/>
    <dgm:cxn modelId="{5E6759E3-3DDB-45EA-BE70-5945239387C4}" type="presOf" srcId="{7855142D-2AF9-40FE-87F5-A54462B1E52A}" destId="{9BBA51BE-2FD2-48B6-8BFA-3C791E9E47DC}" srcOrd="0" destOrd="0" presId="urn:microsoft.com/office/officeart/2005/8/layout/vList5"/>
    <dgm:cxn modelId="{E5D2EDEE-DF2E-4012-B609-56D59B4288F7}" type="presOf" srcId="{0474E20D-2889-40B3-829A-9F96ACE695B8}" destId="{6A56B405-CD2F-4DFA-B6E3-F44B01940CAF}" srcOrd="0" destOrd="0" presId="urn:microsoft.com/office/officeart/2005/8/layout/vList5"/>
    <dgm:cxn modelId="{7FCD0CF7-5562-4989-BFFB-5174CC6B3E3D}" srcId="{0474E20D-2889-40B3-829A-9F96ACE695B8}" destId="{8AE9EF5F-6451-4353-B09A-AE41437C5BE1}" srcOrd="1" destOrd="0" parTransId="{4914A297-D00C-4615-A5CA-6F41CE5029C6}" sibTransId="{30173FEE-D65D-48DF-938B-B1AA6B3830E0}"/>
    <dgm:cxn modelId="{94BF2DFC-5B2E-4B3F-BE55-5EE0F2F9B626}" type="presOf" srcId="{198909AE-87B1-4B73-A40F-3C87298A85BE}" destId="{830C3205-1CCB-4288-9BC9-E2E5EB22B827}" srcOrd="0" destOrd="0" presId="urn:microsoft.com/office/officeart/2005/8/layout/vList5"/>
    <dgm:cxn modelId="{BD1A1751-BFE2-42E0-BC15-F9E7B0620AFE}" type="presParOf" srcId="{6A56B405-CD2F-4DFA-B6E3-F44B01940CAF}" destId="{B5419C14-4EF1-4E8D-8B61-4AD93DB39996}" srcOrd="0" destOrd="0" presId="urn:microsoft.com/office/officeart/2005/8/layout/vList5"/>
    <dgm:cxn modelId="{A3213262-E8E9-4530-AB01-10DEDC6BFB75}" type="presParOf" srcId="{B5419C14-4EF1-4E8D-8B61-4AD93DB39996}" destId="{574A4414-A540-495F-B41B-6C5433E0137B}" srcOrd="0" destOrd="0" presId="urn:microsoft.com/office/officeart/2005/8/layout/vList5"/>
    <dgm:cxn modelId="{A01F2417-83A8-482C-8343-E90B9134769B}" type="presParOf" srcId="{B5419C14-4EF1-4E8D-8B61-4AD93DB39996}" destId="{9BBA51BE-2FD2-48B6-8BFA-3C791E9E47DC}" srcOrd="1" destOrd="0" presId="urn:microsoft.com/office/officeart/2005/8/layout/vList5"/>
    <dgm:cxn modelId="{3161ACBE-490E-4109-BFA3-093B0D1E82D0}" type="presParOf" srcId="{6A56B405-CD2F-4DFA-B6E3-F44B01940CAF}" destId="{1660B4CD-ABC9-431C-8DFC-DBCCECC3DD7E}" srcOrd="1" destOrd="0" presId="urn:microsoft.com/office/officeart/2005/8/layout/vList5"/>
    <dgm:cxn modelId="{6620CF30-88A1-4397-B116-B1AD3865D91C}" type="presParOf" srcId="{6A56B405-CD2F-4DFA-B6E3-F44B01940CAF}" destId="{66EAFDDA-621E-481F-B984-A7F2C2A6414B}" srcOrd="2" destOrd="0" presId="urn:microsoft.com/office/officeart/2005/8/layout/vList5"/>
    <dgm:cxn modelId="{DD50D519-1AF3-4C02-ACED-B5F77DE4C442}" type="presParOf" srcId="{66EAFDDA-621E-481F-B984-A7F2C2A6414B}" destId="{8092F217-E9F8-4A64-99CC-923CD29C4486}" srcOrd="0" destOrd="0" presId="urn:microsoft.com/office/officeart/2005/8/layout/vList5"/>
    <dgm:cxn modelId="{E9330AC6-6937-4ED1-A5C8-AA906864BBD3}" type="presParOf" srcId="{66EAFDDA-621E-481F-B984-A7F2C2A6414B}" destId="{08B256B5-14F1-4092-BC5A-1DE9755A2319}" srcOrd="1" destOrd="0" presId="urn:microsoft.com/office/officeart/2005/8/layout/vList5"/>
    <dgm:cxn modelId="{6CD240E4-2DCD-45DA-A8CF-915A30D0D84B}" type="presParOf" srcId="{6A56B405-CD2F-4DFA-B6E3-F44B01940CAF}" destId="{8CCC313A-890D-4800-BE12-D3C67F63D0D1}" srcOrd="3" destOrd="0" presId="urn:microsoft.com/office/officeart/2005/8/layout/vList5"/>
    <dgm:cxn modelId="{D65C9920-3036-49CF-8D1D-E48F19169058}" type="presParOf" srcId="{6A56B405-CD2F-4DFA-B6E3-F44B01940CAF}" destId="{F8414F9C-E848-47D5-BFBE-594F41027433}" srcOrd="4" destOrd="0" presId="urn:microsoft.com/office/officeart/2005/8/layout/vList5"/>
    <dgm:cxn modelId="{C8C67588-8868-4265-A102-F4DDF61241C8}" type="presParOf" srcId="{F8414F9C-E848-47D5-BFBE-594F41027433}" destId="{C84A7352-A98F-4738-9888-96371BBB12AE}" srcOrd="0" destOrd="0" presId="urn:microsoft.com/office/officeart/2005/8/layout/vList5"/>
    <dgm:cxn modelId="{F471DD6D-676B-42FA-B24C-9DD322EDB41C}" type="presParOf" srcId="{F8414F9C-E848-47D5-BFBE-594F41027433}" destId="{830C3205-1CCB-4288-9BC9-E2E5EB22B82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BA51BE-2FD2-48B6-8BFA-3C791E9E47DC}">
      <dsp:nvSpPr>
        <dsp:cNvPr id="0" name=""/>
        <dsp:cNvSpPr/>
      </dsp:nvSpPr>
      <dsp:spPr>
        <a:xfrm rot="5400000">
          <a:off x="5370905" y="-2479015"/>
          <a:ext cx="946521" cy="6144768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Hypertension is the most prevalent modifiable risk factor for </a:t>
          </a:r>
          <a:r>
            <a:rPr lang="en-US" sz="2200" kern="1200" dirty="0" err="1"/>
            <a:t>haemorrhagic</a:t>
          </a:r>
          <a:r>
            <a:rPr lang="en-US" sz="2200" kern="1200" dirty="0"/>
            <a:t> and </a:t>
          </a:r>
          <a:r>
            <a:rPr lang="en-US" sz="2200" kern="1200" dirty="0" err="1"/>
            <a:t>ischaemic</a:t>
          </a:r>
          <a:r>
            <a:rPr lang="en-US" sz="2200" kern="1200" dirty="0"/>
            <a:t> stroke.</a:t>
          </a:r>
        </a:p>
      </dsp:txBody>
      <dsp:txXfrm rot="-5400000">
        <a:off x="2771782" y="166313"/>
        <a:ext cx="6098563" cy="854111"/>
      </dsp:txXfrm>
    </dsp:sp>
    <dsp:sp modelId="{574A4414-A540-495F-B41B-6C5433E0137B}">
      <dsp:nvSpPr>
        <dsp:cNvPr id="0" name=""/>
        <dsp:cNvSpPr/>
      </dsp:nvSpPr>
      <dsp:spPr>
        <a:xfrm>
          <a:off x="684650" y="1792"/>
          <a:ext cx="2087132" cy="1183152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114300" rIns="228600" bIns="11430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1</a:t>
          </a:r>
        </a:p>
      </dsp:txBody>
      <dsp:txXfrm>
        <a:off x="742407" y="59549"/>
        <a:ext cx="1971618" cy="1067638"/>
      </dsp:txXfrm>
    </dsp:sp>
    <dsp:sp modelId="{08B256B5-14F1-4092-BC5A-1DE9755A2319}">
      <dsp:nvSpPr>
        <dsp:cNvPr id="0" name=""/>
        <dsp:cNvSpPr/>
      </dsp:nvSpPr>
      <dsp:spPr>
        <a:xfrm rot="5400000">
          <a:off x="5332781" y="-1236705"/>
          <a:ext cx="946521" cy="6144768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About 70% of patients with a stroke have a history of hypertension.</a:t>
          </a:r>
        </a:p>
      </dsp:txBody>
      <dsp:txXfrm rot="-5400000">
        <a:off x="2733658" y="1408623"/>
        <a:ext cx="6098563" cy="854111"/>
      </dsp:txXfrm>
    </dsp:sp>
    <dsp:sp modelId="{8092F217-E9F8-4A64-99CC-923CD29C4486}">
      <dsp:nvSpPr>
        <dsp:cNvPr id="0" name=""/>
        <dsp:cNvSpPr/>
      </dsp:nvSpPr>
      <dsp:spPr>
        <a:xfrm>
          <a:off x="684650" y="1244102"/>
          <a:ext cx="2049007" cy="118315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114300" rIns="228600" bIns="11430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2</a:t>
          </a:r>
        </a:p>
      </dsp:txBody>
      <dsp:txXfrm>
        <a:off x="742407" y="1301859"/>
        <a:ext cx="1933493" cy="1067638"/>
      </dsp:txXfrm>
    </dsp:sp>
    <dsp:sp modelId="{830C3205-1CCB-4288-9BC9-E2E5EB22B827}">
      <dsp:nvSpPr>
        <dsp:cNvPr id="0" name=""/>
        <dsp:cNvSpPr/>
      </dsp:nvSpPr>
      <dsp:spPr>
        <a:xfrm rot="5400000">
          <a:off x="5275646" y="5604"/>
          <a:ext cx="946521" cy="6144768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Hypertension predicts stroke recurrence, and BP reduction reduces risks for recurrent stroke.</a:t>
          </a:r>
        </a:p>
      </dsp:txBody>
      <dsp:txXfrm rot="-5400000">
        <a:off x="2676523" y="2650933"/>
        <a:ext cx="6098563" cy="854111"/>
      </dsp:txXfrm>
    </dsp:sp>
    <dsp:sp modelId="{C84A7352-A98F-4738-9888-96371BBB12AE}">
      <dsp:nvSpPr>
        <dsp:cNvPr id="0" name=""/>
        <dsp:cNvSpPr/>
      </dsp:nvSpPr>
      <dsp:spPr>
        <a:xfrm>
          <a:off x="684650" y="2486412"/>
          <a:ext cx="1991872" cy="118315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114300" rIns="228600" bIns="11430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 dirty="0"/>
            <a:t>3</a:t>
          </a:r>
        </a:p>
      </dsp:txBody>
      <dsp:txXfrm>
        <a:off x="742407" y="2544169"/>
        <a:ext cx="1876358" cy="10676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DBED9-BF1B-4137-921D-6F081683C7C6}" type="datetimeFigureOut">
              <a:rPr lang="en-US" smtClean="0"/>
              <a:t>5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5D2036-3E59-4F3B-8965-CAB973DFD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22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ext Box 1">
            <a:extLst>
              <a:ext uri="{FF2B5EF4-FFF2-40B4-BE49-F238E27FC236}">
                <a16:creationId xmlns:a16="http://schemas.microsoft.com/office/drawing/2014/main" id="{333E12F7-F516-1CC4-94B9-9110E5E15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7500" y="1006475"/>
            <a:ext cx="4595813" cy="344805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60694CBA-93BE-791C-4F59-185E86C3EA9A}"/>
              </a:ext>
            </a:extLst>
          </p:cNvPr>
          <p:cNvSpPr txBox="1"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7025" cy="3825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85725" indent="-85725" eaLnBrk="1">
              <a:lnSpc>
                <a:spcPct val="93000"/>
              </a:lnSpc>
              <a:spcBef>
                <a:spcPct val="0"/>
              </a:spcBef>
              <a:buSzPct val="45000"/>
              <a:buFont typeface="Wingdings" panose="05000000000000000000" pitchFamily="2" charset="2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</a:pPr>
            <a:r>
              <a:rPr lang="en-GB" altLang="en-US" dirty="0">
                <a:latin typeface="Arial" panose="020B0604020202020204" pitchFamily="34" charset="0"/>
                <a:cs typeface="msgothic" charset="0"/>
              </a:rPr>
              <a:t>Fig 1 Relative risk estimates of coronary heart disease events in single drug blood pressure difference trials according to drug (β blockers or other), presence of CHD, and for β blockers according to acute myocardial infarction on entry. (Totals are less than the sum of the individual categories because some trials include more than one category; see web extra figures 1a-e for individual trial results and summary estimates)</a:t>
            </a:r>
            <a:r>
              <a:rPr lang="ar-SA" altLang="en-US" dirty="0">
                <a:latin typeface="Arial" panose="020B0604020202020204" pitchFamily="34" charset="0"/>
                <a:cs typeface="msgothic" charset="0"/>
              </a:rPr>
              <a:t>‏</a:t>
            </a:r>
            <a:endParaRPr lang="en-GB" altLang="en-US" dirty="0">
              <a:latin typeface="Arial" panose="020B0604020202020204" pitchFamily="34" charset="0"/>
              <a:cs typeface="ms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12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333333"/>
                </a:solidFill>
                <a:effectLst/>
              </a:rPr>
              <a:t>This study analyzed data for 298,374 Korean adults with oral anticoagulant–naive, nonvalvular AF obtained from the National Health Insurance Service database from 2005 to 2015.</a:t>
            </a:r>
          </a:p>
          <a:p>
            <a:r>
              <a:rPr lang="en-US" b="1" dirty="0">
                <a:effectLst/>
                <a:latin typeface="Roboto" panose="02000000000000000000" pitchFamily="2" charset="0"/>
              </a:rPr>
              <a:t>Results:</a:t>
            </a:r>
          </a:p>
          <a:p>
            <a:r>
              <a:rPr lang="en-US" dirty="0">
                <a:solidFill>
                  <a:srgbClr val="333333"/>
                </a:solidFill>
                <a:effectLst/>
              </a:rPr>
              <a:t>According to the Seventh Report of the Joint National Committee on Prevention, Detection, Evaluation and Treatment of High Blood Pressure guideline, 62.2% of the individuals in our sample had hypertension. After applying the 2017 ACC/AHA guideline, 79.4% had hypertension, including 17.2% with newly redefined hypertension (130 to 139/80 to 89 mm Hg).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D2036-3E59-4F3B-8965-CAB973DFD6F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845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792C17-AD08-4E4C-AB6D-1035F7AC396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Neue"/>
              </a:rPr>
              <a:pPr marL="0" marR="0" lvl="0" indent="0" algn="r" defTabSz="6857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658878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792C17-AD08-4E4C-AB6D-1035F7AC396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Neue"/>
              </a:rPr>
              <a:pPr marL="0" marR="0" lvl="0" indent="0" algn="r" defTabSz="6857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3888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792C17-AD08-4E4C-AB6D-1035F7AC396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Neue"/>
              </a:rPr>
              <a:pPr marL="0" marR="0" lvl="0" indent="0" algn="r" defTabSz="6857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7123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1D1F69-EF54-674A-A625-A84FE16C35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Helvetica Neue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10390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Layouts/_rels/slideLayout2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8.svg"/><Relationship Id="rId4" Type="http://schemas.openxmlformats.org/officeDocument/2006/relationships/image" Target="../media/image5.png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21.emf"/></Relationships>
</file>

<file path=ppt/slideLayouts/_rels/slideLayout26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9E003-4275-8EBE-D472-D92B8CEFF0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6C2EB0-9E7F-A02C-0D8A-456CB44C5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AE190-44EC-30BE-91DC-C1EA0E2D7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6D6D5-27A2-4F05-B9B2-20AB1AC7AA4E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35487D-5C20-1204-9372-7E67BA27B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8A1BA1-F53F-ED9D-046C-D683E0E61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976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16643-F683-8AD7-C36B-F7371A0FB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FA6F57-2C58-2383-82E4-2E44E07F88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E3971-FE52-7128-E030-17DABB1C2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4348D-091E-451F-B76D-C23B600AA2A3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9EE37-E8E0-C496-2341-78FD51A3B8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C75482-6A49-AF84-5006-5B430C5B0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8580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4" name="Google Shape;498;p87" descr="Google Shape;498;p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65" name="Google Shape;499;p87" descr="Google Shape;499;p8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766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6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768" name="Google Shape;502;p87" descr="Google Shape;502;p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76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4800094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6" name="Google Shape;504;p88" descr="Google Shape;504;p8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77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7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79" name="Google Shape;507;p88"/>
          <p:cNvSpPr txBox="1">
            <a:spLocks noGrp="1"/>
          </p:cNvSpPr>
          <p:nvPr>
            <p:ph type="body" sz="quarter" idx="21"/>
          </p:nvPr>
        </p:nvSpPr>
        <p:spPr>
          <a:xfrm>
            <a:off x="6079527" y="1396907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0" name="Google Shape;508;p88"/>
          <p:cNvSpPr txBox="1">
            <a:spLocks noGrp="1"/>
          </p:cNvSpPr>
          <p:nvPr>
            <p:ph type="body" sz="quarter" idx="22"/>
          </p:nvPr>
        </p:nvSpPr>
        <p:spPr>
          <a:xfrm>
            <a:off x="7112803" y="155454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1" name="Google Shape;509;p88"/>
          <p:cNvSpPr txBox="1">
            <a:spLocks noGrp="1"/>
          </p:cNvSpPr>
          <p:nvPr>
            <p:ph type="body" sz="quarter" idx="23"/>
          </p:nvPr>
        </p:nvSpPr>
        <p:spPr>
          <a:xfrm>
            <a:off x="6079527" y="2411691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2" name="Google Shape;510;p88"/>
          <p:cNvSpPr txBox="1">
            <a:spLocks noGrp="1"/>
          </p:cNvSpPr>
          <p:nvPr>
            <p:ph type="body" sz="quarter" idx="24"/>
          </p:nvPr>
        </p:nvSpPr>
        <p:spPr>
          <a:xfrm>
            <a:off x="7112803" y="2569332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3" name="Google Shape;511;p88"/>
          <p:cNvSpPr txBox="1">
            <a:spLocks noGrp="1"/>
          </p:cNvSpPr>
          <p:nvPr>
            <p:ph type="body" sz="quarter" idx="25"/>
          </p:nvPr>
        </p:nvSpPr>
        <p:spPr>
          <a:xfrm>
            <a:off x="6079527" y="3433774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4" name="Google Shape;512;p88"/>
          <p:cNvSpPr txBox="1">
            <a:spLocks noGrp="1"/>
          </p:cNvSpPr>
          <p:nvPr>
            <p:ph type="body" sz="quarter" idx="26"/>
          </p:nvPr>
        </p:nvSpPr>
        <p:spPr>
          <a:xfrm>
            <a:off x="7112803" y="3591415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5" name="Google Shape;513;p88"/>
          <p:cNvSpPr txBox="1">
            <a:spLocks noGrp="1"/>
          </p:cNvSpPr>
          <p:nvPr>
            <p:ph type="body" sz="quarter" idx="27"/>
          </p:nvPr>
        </p:nvSpPr>
        <p:spPr>
          <a:xfrm>
            <a:off x="6079527" y="4448558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6" name="Google Shape;514;p88"/>
          <p:cNvSpPr txBox="1">
            <a:spLocks noGrp="1"/>
          </p:cNvSpPr>
          <p:nvPr>
            <p:ph type="body" sz="quarter" idx="28"/>
          </p:nvPr>
        </p:nvSpPr>
        <p:spPr>
          <a:xfrm>
            <a:off x="7112803" y="460619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787" name="Google Shape;516;p88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788" name="Google Shape;518;p88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78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6566850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6" name="Google Shape;520;p89" descr="Google Shape;520;p89"/>
          <p:cNvPicPr>
            <a:picLocks noChangeAspect="1"/>
          </p:cNvPicPr>
          <p:nvPr/>
        </p:nvPicPr>
        <p:blipFill>
          <a:blip r:embed="rId2"/>
          <a:srcRect l="21926" t="31200" r="33478"/>
          <a:stretch>
            <a:fillRect/>
          </a:stretch>
        </p:blipFill>
        <p:spPr>
          <a:xfrm>
            <a:off x="5080000" y="-1"/>
            <a:ext cx="7112002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797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9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799" name="Google Shape;523;p89" descr="Google Shape;523;p8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0" y="1451137"/>
            <a:ext cx="7112000" cy="4805622"/>
          </a:xfrm>
          <a:prstGeom prst="rect">
            <a:avLst/>
          </a:prstGeom>
          <a:ln w="12700">
            <a:miter lim="400000"/>
          </a:ln>
        </p:spPr>
      </p:pic>
      <p:sp>
        <p:nvSpPr>
          <p:cNvPr id="800" name="Google Shape;524;p89"/>
          <p:cNvSpPr txBox="1">
            <a:spLocks noGrp="1"/>
          </p:cNvSpPr>
          <p:nvPr>
            <p:ph type="body" sz="quarter" idx="21"/>
          </p:nvPr>
        </p:nvSpPr>
        <p:spPr>
          <a:xfrm>
            <a:off x="5592883" y="5581176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01" name="Google Shape;525;p89"/>
          <p:cNvSpPr txBox="1">
            <a:spLocks noGrp="1"/>
          </p:cNvSpPr>
          <p:nvPr>
            <p:ph type="body" sz="quarter" idx="22"/>
          </p:nvPr>
        </p:nvSpPr>
        <p:spPr>
          <a:xfrm>
            <a:off x="5592883" y="5285761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02" name="Google Shape;527;p89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03" name="Google Shape;529;p89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80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4138965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1" name="Google Shape;531;p90" descr="Google Shape;531;p9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2952" y="3362744"/>
            <a:ext cx="1665248" cy="13706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13" name="Google Shape;533;p90"/>
          <p:cNvSpPr txBox="1">
            <a:spLocks noGrp="1"/>
          </p:cNvSpPr>
          <p:nvPr>
            <p:ph type="body" sz="quarter" idx="21"/>
          </p:nvPr>
        </p:nvSpPr>
        <p:spPr>
          <a:xfrm>
            <a:off x="3317200" y="2918533"/>
            <a:ext cx="7115449" cy="91537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14" name="Google Shape;535;p90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15" name="Google Shape;537;p90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8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9815532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3" name="Google Shape;539;p91" descr="Google Shape;539;p9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2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2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553227" y="1939052"/>
            <a:ext cx="8579470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70694" indent="-229394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293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26" name="Google Shape;543;p91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27" name="Google Shape;545;p91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8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5878357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5" name="Google Shape;547;p92" descr="Google Shape;547;p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3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3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53227" y="3400153"/>
            <a:ext cx="7606776" cy="1317716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85140" indent="-23749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86245" indent="-284595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8" name="Google Shape;550;p92"/>
          <p:cNvSpPr txBox="1">
            <a:spLocks noGrp="1"/>
          </p:cNvSpPr>
          <p:nvPr>
            <p:ph type="body" sz="quarter" idx="21"/>
          </p:nvPr>
        </p:nvSpPr>
        <p:spPr>
          <a:xfrm>
            <a:off x="2553225" y="1937583"/>
            <a:ext cx="7606776" cy="118130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39" name="Google Shape;552;p92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40" name="Google Shape;554;p92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84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6652027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4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0" name="Google Shape;558;p93"/>
          <p:cNvSpPr txBox="1">
            <a:spLocks noGrp="1"/>
          </p:cNvSpPr>
          <p:nvPr>
            <p:ph type="body" sz="quarter" idx="21"/>
          </p:nvPr>
        </p:nvSpPr>
        <p:spPr>
          <a:xfrm>
            <a:off x="505541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51" name="Google Shape;559;p93"/>
          <p:cNvSpPr/>
          <p:nvPr/>
        </p:nvSpPr>
        <p:spPr>
          <a:xfrm>
            <a:off x="510485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52" name="Google Shape;560;p93"/>
          <p:cNvSpPr txBox="1">
            <a:spLocks noGrp="1"/>
          </p:cNvSpPr>
          <p:nvPr>
            <p:ph type="body" sz="quarter" idx="22"/>
          </p:nvPr>
        </p:nvSpPr>
        <p:spPr>
          <a:xfrm>
            <a:off x="4414932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53" name="Google Shape;561;p93"/>
          <p:cNvSpPr txBox="1">
            <a:spLocks noGrp="1"/>
          </p:cNvSpPr>
          <p:nvPr>
            <p:ph type="body" sz="quarter" idx="23"/>
          </p:nvPr>
        </p:nvSpPr>
        <p:spPr>
          <a:xfrm>
            <a:off x="4414932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54" name="Google Shape;562;p93"/>
          <p:cNvSpPr/>
          <p:nvPr/>
        </p:nvSpPr>
        <p:spPr>
          <a:xfrm>
            <a:off x="4419877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55" name="Google Shape;563;p93"/>
          <p:cNvSpPr txBox="1">
            <a:spLocks noGrp="1"/>
          </p:cNvSpPr>
          <p:nvPr>
            <p:ph type="body" sz="quarter" idx="24"/>
          </p:nvPr>
        </p:nvSpPr>
        <p:spPr>
          <a:xfrm>
            <a:off x="8304444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56" name="Google Shape;564;p93"/>
          <p:cNvSpPr txBox="1">
            <a:spLocks noGrp="1"/>
          </p:cNvSpPr>
          <p:nvPr>
            <p:ph type="body" sz="quarter" idx="25"/>
          </p:nvPr>
        </p:nvSpPr>
        <p:spPr>
          <a:xfrm>
            <a:off x="8304444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57" name="Google Shape;565;p93"/>
          <p:cNvSpPr/>
          <p:nvPr/>
        </p:nvSpPr>
        <p:spPr>
          <a:xfrm>
            <a:off x="8309389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8590528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5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6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8" y="772636"/>
            <a:ext cx="11171027" cy="45833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470185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4" name="Google Shape;574;p95" descr="Google Shape;574;p9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47103" y="1941687"/>
            <a:ext cx="7115448" cy="2140954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76" name="Title Text"/>
          <p:cNvSpPr txBox="1">
            <a:spLocks noGrp="1"/>
          </p:cNvSpPr>
          <p:nvPr>
            <p:ph type="title"/>
          </p:nvPr>
        </p:nvSpPr>
        <p:spPr>
          <a:xfrm>
            <a:off x="505538" y="413580"/>
            <a:ext cx="11171027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77" name="Google Shape;577;p95"/>
          <p:cNvSpPr txBox="1">
            <a:spLocks noGrp="1"/>
          </p:cNvSpPr>
          <p:nvPr>
            <p:ph type="body" sz="quarter" idx="21"/>
          </p:nvPr>
        </p:nvSpPr>
        <p:spPr>
          <a:xfrm>
            <a:off x="2734300" y="4173534"/>
            <a:ext cx="7115449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78" name="Google Shape;578;p95"/>
          <p:cNvSpPr txBox="1">
            <a:spLocks noGrp="1"/>
          </p:cNvSpPr>
          <p:nvPr>
            <p:ph type="body" sz="quarter" idx="22"/>
          </p:nvPr>
        </p:nvSpPr>
        <p:spPr>
          <a:xfrm>
            <a:off x="2734302" y="4405009"/>
            <a:ext cx="7123915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879" name="Google Shape;580;p95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880" name="Google Shape;582;p95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8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5132914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8" name="Google Shape;584;p96" descr="Google Shape;584;p9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-1"/>
            <a:ext cx="12192004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889" name="Google Shape;585;p96" descr="Google Shape;585;p9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25010"/>
            <a:ext cx="12192002" cy="3807987"/>
          </a:xfrm>
          <a:prstGeom prst="rect">
            <a:avLst/>
          </a:prstGeom>
          <a:ln w="12700">
            <a:miter lim="400000"/>
          </a:ln>
        </p:spPr>
      </p:pic>
      <p:sp>
        <p:nvSpPr>
          <p:cNvPr id="890" name="Google Shape;586;p96"/>
          <p:cNvSpPr txBox="1"/>
          <p:nvPr/>
        </p:nvSpPr>
        <p:spPr>
          <a:xfrm>
            <a:off x="3567561" y="2818530"/>
            <a:ext cx="5168571" cy="9233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>
              <a:defRPr sz="11400" b="1">
                <a:solidFill>
                  <a:srgbClr val="FFFFFF"/>
                </a:solidFill>
              </a:defRPr>
            </a:lvl1pPr>
          </a:lstStyle>
          <a:p>
            <a:r>
              <a:rPr sz="5700"/>
              <a:t>Thank you</a:t>
            </a:r>
          </a:p>
        </p:txBody>
      </p:sp>
      <p:sp>
        <p:nvSpPr>
          <p:cNvPr id="8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6107501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16D384-BDA3-B27B-98D5-363F99FBE6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11F949-EF5E-3215-9594-9008B1B878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71B85-FB54-D3EC-AA3F-1F4751E70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D3808-075E-4253-9735-85B32E0CAF3B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C8DDB-51FD-00D0-AE31-F1B76A72D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D89C4C-670E-5C72-59D9-1345912E2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1958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" name="Title Text"/>
          <p:cNvSpPr txBox="1">
            <a:spLocks noGrp="1"/>
          </p:cNvSpPr>
          <p:nvPr>
            <p:ph type="title"/>
          </p:nvPr>
        </p:nvSpPr>
        <p:spPr>
          <a:xfrm>
            <a:off x="478367" y="364800"/>
            <a:ext cx="11226801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99" name="Body Level One…"/>
          <p:cNvSpPr txBox="1">
            <a:spLocks noGrp="1"/>
          </p:cNvSpPr>
          <p:nvPr>
            <p:ph type="body" idx="1"/>
          </p:nvPr>
        </p:nvSpPr>
        <p:spPr>
          <a:xfrm>
            <a:off x="478369" y="1777410"/>
            <a:ext cx="11226801" cy="4483694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00" name="Google Shape;592;p97"/>
          <p:cNvSpPr txBox="1">
            <a:spLocks noGrp="1"/>
          </p:cNvSpPr>
          <p:nvPr>
            <p:ph type="body" sz="quarter" idx="21"/>
          </p:nvPr>
        </p:nvSpPr>
        <p:spPr>
          <a:xfrm>
            <a:off x="478368" y="950401"/>
            <a:ext cx="11226802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4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901" name="Google Shape;593;p97"/>
          <p:cNvSpPr/>
          <p:nvPr/>
        </p:nvSpPr>
        <p:spPr>
          <a:xfrm>
            <a:off x="478367" y="860504"/>
            <a:ext cx="11226801" cy="1"/>
          </a:xfrm>
          <a:prstGeom prst="line">
            <a:avLst/>
          </a:prstGeom>
          <a:ln w="19050"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90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8906618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Title Text"/>
          <p:cNvSpPr txBox="1">
            <a:spLocks noGrp="1"/>
          </p:cNvSpPr>
          <p:nvPr>
            <p:ph type="title"/>
          </p:nvPr>
        </p:nvSpPr>
        <p:spPr>
          <a:xfrm>
            <a:off x="480002" y="364800"/>
            <a:ext cx="11225168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1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0002" y="950401"/>
            <a:ext cx="11225168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0198670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Title Text"/>
          <p:cNvSpPr txBox="1">
            <a:spLocks noGrp="1"/>
          </p:cNvSpPr>
          <p:nvPr>
            <p:ph type="title"/>
          </p:nvPr>
        </p:nvSpPr>
        <p:spPr>
          <a:xfrm>
            <a:off x="431373" y="188642"/>
            <a:ext cx="11425270" cy="77810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1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2288" y="6023296"/>
            <a:ext cx="10367434" cy="23749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">
                <a:latin typeface="Calibri"/>
                <a:ea typeface="Calibri"/>
                <a:cs typeface="Calibri"/>
                <a:sym typeface="Calibri"/>
              </a:defRPr>
            </a:lvl1pPr>
            <a:lvl2pPr marL="339328" indent="-5357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2pPr>
            <a:lvl3pPr marL="578644" indent="-64294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3pPr>
            <a:lvl4pPr marL="8143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4pPr>
            <a:lvl5pPr marL="10429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4977" y="6502680"/>
            <a:ext cx="89768" cy="92333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600">
                <a:solidFill>
                  <a:srgbClr val="6B747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5398382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605;p100"/>
          <p:cNvSpPr/>
          <p:nvPr/>
        </p:nvSpPr>
        <p:spPr>
          <a:xfrm>
            <a:off x="11434233" y="6460144"/>
            <a:ext cx="1" cy="135468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pic>
        <p:nvPicPr>
          <p:cNvPr id="928" name="Google Shape;606;p100" descr="Google Shape;606;p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14" y="6207023"/>
            <a:ext cx="1519188" cy="588340"/>
          </a:xfrm>
          <a:prstGeom prst="rect">
            <a:avLst/>
          </a:prstGeom>
          <a:ln w="12700">
            <a:miter lim="400000"/>
          </a:ln>
        </p:spPr>
      </p:pic>
      <p:sp>
        <p:nvSpPr>
          <p:cNvPr id="9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1887764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9772055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" name="Title Text"/>
          <p:cNvSpPr txBox="1">
            <a:spLocks noGrp="1"/>
          </p:cNvSpPr>
          <p:nvPr>
            <p:ph type="title"/>
          </p:nvPr>
        </p:nvSpPr>
        <p:spPr>
          <a:xfrm>
            <a:off x="914400" y="1122363"/>
            <a:ext cx="103632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5140472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OBJEC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4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53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0019778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SECTION_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" name="Title Text"/>
          <p:cNvSpPr txBox="1">
            <a:spLocks noGrp="1"/>
          </p:cNvSpPr>
          <p:nvPr>
            <p:ph type="title"/>
          </p:nvPr>
        </p:nvSpPr>
        <p:spPr>
          <a:xfrm>
            <a:off x="831851" y="1709740"/>
            <a:ext cx="10515601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1" y="4589466"/>
            <a:ext cx="10515601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6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9775725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WO_OBJEC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4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7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2" name="Google Shape;638;p190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97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4349417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WO_OBJECTS_WITH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Title Text"/>
          <p:cNvSpPr txBox="1">
            <a:spLocks noGrp="1"/>
          </p:cNvSpPr>
          <p:nvPr>
            <p:ph type="title"/>
          </p:nvPr>
        </p:nvSpPr>
        <p:spPr>
          <a:xfrm>
            <a:off x="839788" y="365127"/>
            <a:ext cx="10515601" cy="1325564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8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90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82" name="Google Shape;645;p191"/>
          <p:cNvSpPr txBox="1">
            <a:spLocks noGrp="1"/>
          </p:cNvSpPr>
          <p:nvPr>
            <p:ph type="body" sz="half" idx="21"/>
          </p:nvPr>
        </p:nvSpPr>
        <p:spPr>
          <a:xfrm>
            <a:off x="839789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983" name="Google Shape;646;p191"/>
          <p:cNvSpPr txBox="1">
            <a:spLocks noGrp="1"/>
          </p:cNvSpPr>
          <p:nvPr>
            <p:ph type="body" sz="quarter" idx="22"/>
          </p:nvPr>
        </p:nvSpPr>
        <p:spPr>
          <a:xfrm>
            <a:off x="6172201" y="1681163"/>
            <a:ext cx="5183189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984" name="Google Shape;647;p191"/>
          <p:cNvSpPr txBox="1">
            <a:spLocks noGrp="1"/>
          </p:cNvSpPr>
          <p:nvPr>
            <p:ph type="body" sz="half" idx="23"/>
          </p:nvPr>
        </p:nvSpPr>
        <p:spPr>
          <a:xfrm>
            <a:off x="6172201" y="2505075"/>
            <a:ext cx="5183189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98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92048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2045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_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4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9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395981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OBJECT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00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8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02" name="Google Shape;659;p193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5601819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PICTURE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011" name="Google Shape;665;p194"/>
          <p:cNvSpPr>
            <a:spLocks noGrp="1"/>
          </p:cNvSpPr>
          <p:nvPr>
            <p:ph type="pic" sz="half" idx="21"/>
          </p:nvPr>
        </p:nvSpPr>
        <p:spPr>
          <a:xfrm>
            <a:off x="5183187" y="987428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5688378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4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021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2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3972521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VERTICAL_TITLE_AND_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2" y="1956594"/>
            <a:ext cx="5811838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030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2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759720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_AND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7723756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91424" tIns="91424" rIns="91424" bIns="91424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046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91424" tIns="91424" rIns="91424" bIns="91424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986423" y="6354263"/>
            <a:ext cx="367377" cy="369300"/>
          </a:xfrm>
          <a:prstGeom prst="rect">
            <a:avLst/>
          </a:prstGeom>
        </p:spPr>
        <p:txBody>
          <a:bodyPr lIns="91424" tIns="91424" rIns="91424" bIns="91424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48915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" name="Google Shape;696;p66" descr="Google Shape;696;p6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7736" y="-8129"/>
            <a:ext cx="4114266" cy="2635582"/>
          </a:xfrm>
          <a:prstGeom prst="rect">
            <a:avLst/>
          </a:prstGeom>
          <a:ln w="12700">
            <a:miter lim="400000"/>
          </a:ln>
        </p:spPr>
      </p:pic>
      <p:sp>
        <p:nvSpPr>
          <p:cNvPr id="10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20444" y="6423518"/>
            <a:ext cx="233356" cy="230790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/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2568310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" name="Google Shape;698;p67"/>
          <p:cNvSpPr>
            <a:spLocks noGrp="1"/>
          </p:cNvSpPr>
          <p:nvPr>
            <p:ph type="pic" idx="21"/>
          </p:nvPr>
        </p:nvSpPr>
        <p:spPr>
          <a:xfrm>
            <a:off x="-577850" y="-647700"/>
            <a:ext cx="13373100" cy="800946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63" name="Title Text"/>
          <p:cNvSpPr txBox="1">
            <a:spLocks noGrp="1"/>
          </p:cNvSpPr>
          <p:nvPr>
            <p:ph type="title"/>
          </p:nvPr>
        </p:nvSpPr>
        <p:spPr>
          <a:xfrm>
            <a:off x="603250" y="3562350"/>
            <a:ext cx="10985500" cy="2324100"/>
          </a:xfrm>
          <a:prstGeom prst="rect">
            <a:avLst/>
          </a:prstGeom>
        </p:spPr>
        <p:txBody>
          <a:bodyPr anchor="b"/>
          <a:lstStyle>
            <a:lvl1pPr>
              <a:defRPr sz="5800"/>
            </a:lvl1pPr>
          </a:lstStyle>
          <a:p>
            <a:r>
              <a:t>Title Text</a:t>
            </a:r>
          </a:p>
        </p:txBody>
      </p:sp>
      <p:sp>
        <p:nvSpPr>
          <p:cNvPr id="106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845" y="553069"/>
            <a:ext cx="10984311" cy="31849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 b="1"/>
            </a:lvl1pPr>
            <a:lvl2pPr marL="4110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2pPr>
            <a:lvl3pPr marL="6396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3pPr>
            <a:lvl4pPr marL="8682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4pPr>
            <a:lvl5pPr marL="10968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65" name="Google Shape;701;p67"/>
          <p:cNvSpPr txBox="1">
            <a:spLocks noGrp="1"/>
          </p:cNvSpPr>
          <p:nvPr>
            <p:ph type="body" sz="quarter" idx="22"/>
          </p:nvPr>
        </p:nvSpPr>
        <p:spPr>
          <a:xfrm>
            <a:off x="603250" y="5804955"/>
            <a:ext cx="10985500" cy="558477"/>
          </a:xfrm>
          <a:prstGeom prst="rect">
            <a:avLst/>
          </a:prstGeom>
        </p:spPr>
        <p:txBody>
          <a:bodyPr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lvl1pPr>
          </a:lstStyle>
          <a:p>
            <a:pPr marL="2286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pPr>
            <a:endParaRPr/>
          </a:p>
        </p:txBody>
      </p:sp>
      <p:sp>
        <p:nvSpPr>
          <p:cNvPr id="10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3605350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" name="Google Shape;704;p68"/>
          <p:cNvSpPr>
            <a:spLocks noGrp="1"/>
          </p:cNvSpPr>
          <p:nvPr>
            <p:ph type="pic" idx="21"/>
          </p:nvPr>
        </p:nvSpPr>
        <p:spPr>
          <a:xfrm>
            <a:off x="5486400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74" name="Title Text"/>
          <p:cNvSpPr txBox="1">
            <a:spLocks noGrp="1"/>
          </p:cNvSpPr>
          <p:nvPr>
            <p:ph type="title"/>
          </p:nvPr>
        </p:nvSpPr>
        <p:spPr>
          <a:xfrm>
            <a:off x="603250" y="635000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0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1pPr>
            <a:lvl2pPr marL="114300" indent="2286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2pPr>
            <a:lvl3pPr marL="114300" indent="4572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3pPr>
            <a:lvl4pPr marL="114300" indent="6858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4pPr>
            <a:lvl5pPr marL="114300" indent="9144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154251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ubTitle"/>
          </p:nvPr>
        </p:nvSpPr>
        <p:spPr>
          <a:xfrm>
            <a:off x="609600" y="1604520"/>
            <a:ext cx="1097232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305970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8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054297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" name="Title Text"/>
          <p:cNvSpPr txBox="1">
            <a:spLocks noGrp="1"/>
          </p:cNvSpPr>
          <p:nvPr>
            <p:ph type="title"/>
          </p:nvPr>
        </p:nvSpPr>
        <p:spPr>
          <a:xfrm>
            <a:off x="603248" y="2266950"/>
            <a:ext cx="10985503" cy="2324100"/>
          </a:xfrm>
          <a:prstGeom prst="rect">
            <a:avLst/>
          </a:prstGeom>
        </p:spPr>
        <p:txBody>
          <a:bodyPr anchor="ctr"/>
          <a:lstStyle>
            <a:lvl1pPr>
              <a:defRPr sz="5800" b="0"/>
            </a:lvl1pPr>
          </a:lstStyle>
          <a:p>
            <a:r>
              <a:t>Title Text</a:t>
            </a:r>
          </a:p>
        </p:txBody>
      </p:sp>
      <p:sp>
        <p:nvSpPr>
          <p:cNvPr id="109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7332054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" name="Title Text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10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250" y="1186481"/>
            <a:ext cx="10985500" cy="46739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1pPr>
            <a:lvl2pPr marL="4841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2pPr>
            <a:lvl3pPr marL="7127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3pPr>
            <a:lvl4pPr marL="9413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4pPr>
            <a:lvl5pPr marL="11699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0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5965972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03250" y="2460422"/>
            <a:ext cx="10985500" cy="1937157"/>
          </a:xfrm>
          <a:prstGeom prst="rect">
            <a:avLst/>
          </a:prstGeom>
        </p:spPr>
        <p:txBody>
          <a:bodyPr anchor="ctr"/>
          <a:lstStyle>
            <a:lvl1pPr marL="114300" indent="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1pPr>
            <a:lvl2pPr marL="114300" indent="2286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2pPr>
            <a:lvl3pPr marL="114300" indent="4572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3pPr>
            <a:lvl4pPr marL="114300" indent="6858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4pPr>
            <a:lvl5pPr marL="114300" indent="9144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0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378859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722;p73"/>
          <p:cNvSpPr>
            <a:spLocks noGrp="1"/>
          </p:cNvSpPr>
          <p:nvPr>
            <p:ph type="pic" sz="quarter" idx="21"/>
          </p:nvPr>
        </p:nvSpPr>
        <p:spPr>
          <a:xfrm>
            <a:off x="7880350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117" name="Google Shape;723;p73"/>
          <p:cNvSpPr>
            <a:spLocks noGrp="1"/>
          </p:cNvSpPr>
          <p:nvPr>
            <p:ph type="pic" sz="half" idx="22"/>
          </p:nvPr>
        </p:nvSpPr>
        <p:spPr>
          <a:xfrm>
            <a:off x="6750050" y="1989138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118" name="Google Shape;724;p73"/>
          <p:cNvSpPr>
            <a:spLocks noGrp="1"/>
          </p:cNvSpPr>
          <p:nvPr>
            <p:ph type="pic" idx="23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1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3958167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OBJEC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27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8341083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3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5023107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SECTION_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4308571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WO_OBJEC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5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55" name="Google Shape;753;p199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9350994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WO_OBJECTS_WITH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6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65" name="Google Shape;760;p200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66" name="Google Shape;761;p200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67" name="Google Shape;762;p200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8869384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1097232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936458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_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5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5642779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4143570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OBJECT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9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2" name="Google Shape;778;p203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9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2038028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PICTURE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01" name="Google Shape;784;p204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0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594063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0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11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1464787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VERTICAL_TITLE_AND_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20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4192542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6943202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3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1738639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45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6313049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5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270811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35491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6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64" name="Google Shape;832;p104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2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1620105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74" name="Google Shape;839;p105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275" name="Google Shape;840;p105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276" name="Google Shape;841;p105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2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5353580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8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8693959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9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94" name="Google Shape;853;p107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2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695508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03" name="Google Shape;859;p108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0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0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3257564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13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053927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22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0725218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0" name="Google Shape;877;p111" descr="Google Shape;877;p1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31" name="Google Shape;878;p111" descr="Google Shape;878;p1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332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3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34" name="Google Shape;881;p111" descr="Google Shape;881;p1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3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9271039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2" name="Google Shape;883;p112" descr="Google Shape;883;p1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3" name="Google Shape;884;p112" descr="Google Shape;884;p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344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46" name="Google Shape;887;p112" descr="Google Shape;887;p1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3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4208432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4" name="Google Shape;889;p113" descr="Google Shape;889;p1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55" name="Google Shape;890;p113" descr="Google Shape;890;p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356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5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58" name="Google Shape;893;p113" descr="Google Shape;893;p1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35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759950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9355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6" name="Google Shape;895;p114" descr="Google Shape;895;p1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367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6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69" name="Google Shape;898;p114"/>
          <p:cNvSpPr txBox="1">
            <a:spLocks noGrp="1"/>
          </p:cNvSpPr>
          <p:nvPr>
            <p:ph type="body" sz="quarter" idx="21"/>
          </p:nvPr>
        </p:nvSpPr>
        <p:spPr>
          <a:xfrm>
            <a:off x="6079527" y="1396907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0" name="Google Shape;899;p114"/>
          <p:cNvSpPr txBox="1">
            <a:spLocks noGrp="1"/>
          </p:cNvSpPr>
          <p:nvPr>
            <p:ph type="body" sz="quarter" idx="22"/>
          </p:nvPr>
        </p:nvSpPr>
        <p:spPr>
          <a:xfrm>
            <a:off x="7112803" y="155454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1" name="Google Shape;900;p114"/>
          <p:cNvSpPr txBox="1">
            <a:spLocks noGrp="1"/>
          </p:cNvSpPr>
          <p:nvPr>
            <p:ph type="body" sz="quarter" idx="23"/>
          </p:nvPr>
        </p:nvSpPr>
        <p:spPr>
          <a:xfrm>
            <a:off x="6079527" y="2411691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2" name="Google Shape;901;p114"/>
          <p:cNvSpPr txBox="1">
            <a:spLocks noGrp="1"/>
          </p:cNvSpPr>
          <p:nvPr>
            <p:ph type="body" sz="quarter" idx="24"/>
          </p:nvPr>
        </p:nvSpPr>
        <p:spPr>
          <a:xfrm>
            <a:off x="7112803" y="2569332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3" name="Google Shape;902;p114"/>
          <p:cNvSpPr txBox="1">
            <a:spLocks noGrp="1"/>
          </p:cNvSpPr>
          <p:nvPr>
            <p:ph type="body" sz="quarter" idx="25"/>
          </p:nvPr>
        </p:nvSpPr>
        <p:spPr>
          <a:xfrm>
            <a:off x="6079527" y="3433774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4" name="Google Shape;903;p114"/>
          <p:cNvSpPr txBox="1">
            <a:spLocks noGrp="1"/>
          </p:cNvSpPr>
          <p:nvPr>
            <p:ph type="body" sz="quarter" idx="26"/>
          </p:nvPr>
        </p:nvSpPr>
        <p:spPr>
          <a:xfrm>
            <a:off x="7112803" y="3591415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5" name="Google Shape;904;p114"/>
          <p:cNvSpPr txBox="1">
            <a:spLocks noGrp="1"/>
          </p:cNvSpPr>
          <p:nvPr>
            <p:ph type="body" sz="quarter" idx="27"/>
          </p:nvPr>
        </p:nvSpPr>
        <p:spPr>
          <a:xfrm>
            <a:off x="6079527" y="4448558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6" name="Google Shape;905;p114"/>
          <p:cNvSpPr txBox="1">
            <a:spLocks noGrp="1"/>
          </p:cNvSpPr>
          <p:nvPr>
            <p:ph type="body" sz="quarter" idx="28"/>
          </p:nvPr>
        </p:nvSpPr>
        <p:spPr>
          <a:xfrm>
            <a:off x="7112803" y="460619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77" name="Google Shape;907;p114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378" name="Google Shape;909;p114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37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9940608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6" name="Google Shape;911;p115" descr="Google Shape;911;p115"/>
          <p:cNvPicPr>
            <a:picLocks noChangeAspect="1"/>
          </p:cNvPicPr>
          <p:nvPr/>
        </p:nvPicPr>
        <p:blipFill>
          <a:blip r:embed="rId2"/>
          <a:srcRect l="21926" t="31200" r="33478"/>
          <a:stretch>
            <a:fillRect/>
          </a:stretch>
        </p:blipFill>
        <p:spPr>
          <a:xfrm>
            <a:off x="5080000" y="-1"/>
            <a:ext cx="7112002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1387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8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89" name="Google Shape;914;p115" descr="Google Shape;914;p1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0" y="1451137"/>
            <a:ext cx="7112000" cy="4805622"/>
          </a:xfrm>
          <a:prstGeom prst="rect">
            <a:avLst/>
          </a:prstGeom>
          <a:ln w="12700">
            <a:miter lim="400000"/>
          </a:ln>
        </p:spPr>
      </p:pic>
      <p:sp>
        <p:nvSpPr>
          <p:cNvPr id="1390" name="Google Shape;915;p115"/>
          <p:cNvSpPr txBox="1">
            <a:spLocks noGrp="1"/>
          </p:cNvSpPr>
          <p:nvPr>
            <p:ph type="body" sz="quarter" idx="21"/>
          </p:nvPr>
        </p:nvSpPr>
        <p:spPr>
          <a:xfrm>
            <a:off x="5592883" y="5581176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91" name="Google Shape;916;p115"/>
          <p:cNvSpPr txBox="1">
            <a:spLocks noGrp="1"/>
          </p:cNvSpPr>
          <p:nvPr>
            <p:ph type="body" sz="quarter" idx="22"/>
          </p:nvPr>
        </p:nvSpPr>
        <p:spPr>
          <a:xfrm>
            <a:off x="5592883" y="5285761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392" name="Google Shape;918;p115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393" name="Google Shape;920;p115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3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4133570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1" name="Google Shape;922;p116" descr="Google Shape;922;p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0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2952" y="3362744"/>
            <a:ext cx="1665248" cy="13706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03" name="Google Shape;924;p116"/>
          <p:cNvSpPr txBox="1">
            <a:spLocks noGrp="1"/>
          </p:cNvSpPr>
          <p:nvPr>
            <p:ph type="body" sz="quarter" idx="21"/>
          </p:nvPr>
        </p:nvSpPr>
        <p:spPr>
          <a:xfrm>
            <a:off x="3317200" y="2918533"/>
            <a:ext cx="7115449" cy="91537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04" name="Google Shape;926;p116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05" name="Google Shape;928;p116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40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3316026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" name="Google Shape;930;p117" descr="Google Shape;930;p1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1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1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553227" y="1939052"/>
            <a:ext cx="8579470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70694" indent="-229394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293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16" name="Google Shape;934;p117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17" name="Google Shape;936;p117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4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6972750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5" name="Google Shape;938;p118" descr="Google Shape;938;p1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2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53227" y="3400153"/>
            <a:ext cx="7606776" cy="1317716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85140" indent="-23749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86245" indent="-284595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28" name="Google Shape;941;p118"/>
          <p:cNvSpPr txBox="1">
            <a:spLocks noGrp="1"/>
          </p:cNvSpPr>
          <p:nvPr>
            <p:ph type="body" sz="quarter" idx="21"/>
          </p:nvPr>
        </p:nvSpPr>
        <p:spPr>
          <a:xfrm>
            <a:off x="2553225" y="1937583"/>
            <a:ext cx="7606776" cy="118130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29" name="Google Shape;943;p118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30" name="Google Shape;945;p118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4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2876377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3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40" name="Google Shape;949;p119"/>
          <p:cNvSpPr txBox="1">
            <a:spLocks noGrp="1"/>
          </p:cNvSpPr>
          <p:nvPr>
            <p:ph type="body" sz="quarter" idx="21"/>
          </p:nvPr>
        </p:nvSpPr>
        <p:spPr>
          <a:xfrm>
            <a:off x="505541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41" name="Google Shape;950;p119"/>
          <p:cNvSpPr/>
          <p:nvPr/>
        </p:nvSpPr>
        <p:spPr>
          <a:xfrm>
            <a:off x="510485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42" name="Google Shape;951;p119"/>
          <p:cNvSpPr txBox="1">
            <a:spLocks noGrp="1"/>
          </p:cNvSpPr>
          <p:nvPr>
            <p:ph type="body" sz="quarter" idx="22"/>
          </p:nvPr>
        </p:nvSpPr>
        <p:spPr>
          <a:xfrm>
            <a:off x="4414932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43" name="Google Shape;952;p119"/>
          <p:cNvSpPr txBox="1">
            <a:spLocks noGrp="1"/>
          </p:cNvSpPr>
          <p:nvPr>
            <p:ph type="body" sz="quarter" idx="23"/>
          </p:nvPr>
        </p:nvSpPr>
        <p:spPr>
          <a:xfrm>
            <a:off x="4414932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44" name="Google Shape;953;p119"/>
          <p:cNvSpPr/>
          <p:nvPr/>
        </p:nvSpPr>
        <p:spPr>
          <a:xfrm>
            <a:off x="4419877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45" name="Google Shape;954;p119"/>
          <p:cNvSpPr txBox="1">
            <a:spLocks noGrp="1"/>
          </p:cNvSpPr>
          <p:nvPr>
            <p:ph type="body" sz="quarter" idx="24"/>
          </p:nvPr>
        </p:nvSpPr>
        <p:spPr>
          <a:xfrm>
            <a:off x="8304444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46" name="Google Shape;955;p119"/>
          <p:cNvSpPr txBox="1">
            <a:spLocks noGrp="1"/>
          </p:cNvSpPr>
          <p:nvPr>
            <p:ph type="body" sz="quarter" idx="25"/>
          </p:nvPr>
        </p:nvSpPr>
        <p:spPr>
          <a:xfrm>
            <a:off x="8304444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47" name="Google Shape;956;p119"/>
          <p:cNvSpPr/>
          <p:nvPr/>
        </p:nvSpPr>
        <p:spPr>
          <a:xfrm>
            <a:off x="8309389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4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0649599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5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5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8" y="772636"/>
            <a:ext cx="11171027" cy="45833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8872899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4" name="Google Shape;965;p121" descr="Google Shape;965;p1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6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47103" y="1941687"/>
            <a:ext cx="7115448" cy="2140954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66" name="Title Text"/>
          <p:cNvSpPr txBox="1">
            <a:spLocks noGrp="1"/>
          </p:cNvSpPr>
          <p:nvPr>
            <p:ph type="title"/>
          </p:nvPr>
        </p:nvSpPr>
        <p:spPr>
          <a:xfrm>
            <a:off x="505538" y="413580"/>
            <a:ext cx="11171027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67" name="Google Shape;968;p121"/>
          <p:cNvSpPr txBox="1">
            <a:spLocks noGrp="1"/>
          </p:cNvSpPr>
          <p:nvPr>
            <p:ph type="body" sz="quarter" idx="21"/>
          </p:nvPr>
        </p:nvSpPr>
        <p:spPr>
          <a:xfrm>
            <a:off x="2734300" y="4173534"/>
            <a:ext cx="7115449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68" name="Google Shape;969;p121"/>
          <p:cNvSpPr txBox="1">
            <a:spLocks noGrp="1"/>
          </p:cNvSpPr>
          <p:nvPr>
            <p:ph type="body" sz="quarter" idx="22"/>
          </p:nvPr>
        </p:nvSpPr>
        <p:spPr>
          <a:xfrm>
            <a:off x="2734302" y="4405009"/>
            <a:ext cx="7123915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469" name="Google Shape;971;p121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70" name="Google Shape;973;p121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4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019571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8" name="Google Shape;975;p122" descr="Google Shape;975;p1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-1"/>
            <a:ext cx="12192004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1479" name="Google Shape;976;p122" descr="Google Shape;976;p1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25010"/>
            <a:ext cx="12192002" cy="3807987"/>
          </a:xfrm>
          <a:prstGeom prst="rect">
            <a:avLst/>
          </a:prstGeom>
          <a:ln w="12700">
            <a:miter lim="400000"/>
          </a:ln>
        </p:spPr>
      </p:pic>
      <p:sp>
        <p:nvSpPr>
          <p:cNvPr id="1480" name="Google Shape;977;p122"/>
          <p:cNvSpPr txBox="1"/>
          <p:nvPr/>
        </p:nvSpPr>
        <p:spPr>
          <a:xfrm>
            <a:off x="3567561" y="2818530"/>
            <a:ext cx="5168571" cy="9233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>
              <a:defRPr sz="11400" b="1">
                <a:solidFill>
                  <a:srgbClr val="FFFFFF"/>
                </a:solidFill>
              </a:defRPr>
            </a:lvl1pPr>
          </a:lstStyle>
          <a:p>
            <a:r>
              <a:rPr sz="5700"/>
              <a:t>Thank you</a:t>
            </a:r>
          </a:p>
        </p:txBody>
      </p:sp>
      <p:sp>
        <p:nvSpPr>
          <p:cNvPr id="14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3284359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8" name="Title Text"/>
          <p:cNvSpPr txBox="1">
            <a:spLocks noGrp="1"/>
          </p:cNvSpPr>
          <p:nvPr>
            <p:ph type="title"/>
          </p:nvPr>
        </p:nvSpPr>
        <p:spPr>
          <a:xfrm>
            <a:off x="478367" y="364800"/>
            <a:ext cx="11226801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89" name="Body Level One…"/>
          <p:cNvSpPr txBox="1">
            <a:spLocks noGrp="1"/>
          </p:cNvSpPr>
          <p:nvPr>
            <p:ph type="body" idx="1"/>
          </p:nvPr>
        </p:nvSpPr>
        <p:spPr>
          <a:xfrm>
            <a:off x="478369" y="1777410"/>
            <a:ext cx="11226801" cy="4483694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90" name="Google Shape;983;p123"/>
          <p:cNvSpPr txBox="1">
            <a:spLocks noGrp="1"/>
          </p:cNvSpPr>
          <p:nvPr>
            <p:ph type="body" sz="quarter" idx="21"/>
          </p:nvPr>
        </p:nvSpPr>
        <p:spPr>
          <a:xfrm>
            <a:off x="478368" y="950401"/>
            <a:ext cx="11226802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4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491" name="Google Shape;984;p123"/>
          <p:cNvSpPr/>
          <p:nvPr/>
        </p:nvSpPr>
        <p:spPr>
          <a:xfrm>
            <a:off x="478367" y="860504"/>
            <a:ext cx="11226801" cy="1"/>
          </a:xfrm>
          <a:prstGeom prst="line">
            <a:avLst/>
          </a:prstGeom>
          <a:ln w="19050"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49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5107577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subTitle"/>
          </p:nvPr>
        </p:nvSpPr>
        <p:spPr>
          <a:xfrm>
            <a:off x="609600" y="273600"/>
            <a:ext cx="10972320" cy="530784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65563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9" name="Title Text"/>
          <p:cNvSpPr txBox="1">
            <a:spLocks noGrp="1"/>
          </p:cNvSpPr>
          <p:nvPr>
            <p:ph type="title"/>
          </p:nvPr>
        </p:nvSpPr>
        <p:spPr>
          <a:xfrm>
            <a:off x="480002" y="364800"/>
            <a:ext cx="11225168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0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0002" y="950401"/>
            <a:ext cx="11225168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0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023988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8" name="Title Text"/>
          <p:cNvSpPr txBox="1">
            <a:spLocks noGrp="1"/>
          </p:cNvSpPr>
          <p:nvPr>
            <p:ph type="title"/>
          </p:nvPr>
        </p:nvSpPr>
        <p:spPr>
          <a:xfrm>
            <a:off x="431373" y="188642"/>
            <a:ext cx="11425270" cy="77810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0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2288" y="6023296"/>
            <a:ext cx="10367434" cy="23749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">
                <a:latin typeface="Calibri"/>
                <a:ea typeface="Calibri"/>
                <a:cs typeface="Calibri"/>
                <a:sym typeface="Calibri"/>
              </a:defRPr>
            </a:lvl1pPr>
            <a:lvl2pPr marL="339328" indent="-5357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2pPr>
            <a:lvl3pPr marL="578644" indent="-64294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3pPr>
            <a:lvl4pPr marL="8143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4pPr>
            <a:lvl5pPr marL="10429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4977" y="6502680"/>
            <a:ext cx="89768" cy="92333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600">
                <a:solidFill>
                  <a:srgbClr val="6B747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6310551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7094564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4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2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2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1073829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34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5754051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4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0569724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1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5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53" name="Google Shape;1025;p129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33682548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1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63" name="Google Shape;1032;p130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64" name="Google Shape;1033;p130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65" name="Google Shape;1034;p130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6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32216152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7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6661256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1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8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83" name="Google Shape;1046;p132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8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8814770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4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34650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1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92" name="Google Shape;1052;p133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9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0757721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02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0285680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11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0877756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9" name="Google Shape;1070;p136" descr="Google Shape;1070;p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620" name="Google Shape;1071;p136" descr="Google Shape;1071;p1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621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623" name="Google Shape;1074;p136" descr="Google Shape;1074;p1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6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7283108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1" name="Google Shape;1076;p137" descr="Google Shape;1076;p1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632" name="Google Shape;1077;p137" descr="Google Shape;1077;p1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633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635" name="Google Shape;1080;p137" descr="Google Shape;1080;p1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6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5335112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3" name="Google Shape;1082;p138" descr="Google Shape;1082;p1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644" name="Google Shape;1083;p138" descr="Google Shape;1083;p1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645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647" name="Google Shape;1086;p138" descr="Google Shape;1086;p1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64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9692705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5" name="Google Shape;1088;p139" descr="Google Shape;1088;p1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56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5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58" name="Google Shape;1091;p139"/>
          <p:cNvSpPr txBox="1">
            <a:spLocks noGrp="1"/>
          </p:cNvSpPr>
          <p:nvPr>
            <p:ph type="body" sz="quarter" idx="21"/>
          </p:nvPr>
        </p:nvSpPr>
        <p:spPr>
          <a:xfrm>
            <a:off x="6079527" y="1396907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59" name="Google Shape;1092;p139"/>
          <p:cNvSpPr txBox="1">
            <a:spLocks noGrp="1"/>
          </p:cNvSpPr>
          <p:nvPr>
            <p:ph type="body" sz="quarter" idx="22"/>
          </p:nvPr>
        </p:nvSpPr>
        <p:spPr>
          <a:xfrm>
            <a:off x="7112803" y="155454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0" name="Google Shape;1093;p139"/>
          <p:cNvSpPr txBox="1">
            <a:spLocks noGrp="1"/>
          </p:cNvSpPr>
          <p:nvPr>
            <p:ph type="body" sz="quarter" idx="23"/>
          </p:nvPr>
        </p:nvSpPr>
        <p:spPr>
          <a:xfrm>
            <a:off x="6079527" y="2411691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1" name="Google Shape;1094;p139"/>
          <p:cNvSpPr txBox="1">
            <a:spLocks noGrp="1"/>
          </p:cNvSpPr>
          <p:nvPr>
            <p:ph type="body" sz="quarter" idx="24"/>
          </p:nvPr>
        </p:nvSpPr>
        <p:spPr>
          <a:xfrm>
            <a:off x="7112803" y="2569332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2" name="Google Shape;1095;p139"/>
          <p:cNvSpPr txBox="1">
            <a:spLocks noGrp="1"/>
          </p:cNvSpPr>
          <p:nvPr>
            <p:ph type="body" sz="quarter" idx="25"/>
          </p:nvPr>
        </p:nvSpPr>
        <p:spPr>
          <a:xfrm>
            <a:off x="6079527" y="3433774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3" name="Google Shape;1096;p139"/>
          <p:cNvSpPr txBox="1">
            <a:spLocks noGrp="1"/>
          </p:cNvSpPr>
          <p:nvPr>
            <p:ph type="body" sz="quarter" idx="26"/>
          </p:nvPr>
        </p:nvSpPr>
        <p:spPr>
          <a:xfrm>
            <a:off x="7112803" y="3591415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4" name="Google Shape;1097;p139"/>
          <p:cNvSpPr txBox="1">
            <a:spLocks noGrp="1"/>
          </p:cNvSpPr>
          <p:nvPr>
            <p:ph type="body" sz="quarter" idx="27"/>
          </p:nvPr>
        </p:nvSpPr>
        <p:spPr>
          <a:xfrm>
            <a:off x="6079527" y="4448558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5" name="Google Shape;1098;p139"/>
          <p:cNvSpPr txBox="1">
            <a:spLocks noGrp="1"/>
          </p:cNvSpPr>
          <p:nvPr>
            <p:ph type="body" sz="quarter" idx="28"/>
          </p:nvPr>
        </p:nvSpPr>
        <p:spPr>
          <a:xfrm>
            <a:off x="7112803" y="460619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66" name="Google Shape;1100;p139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667" name="Google Shape;1102;p139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6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4451037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5" name="Google Shape;1104;p140" descr="Google Shape;1104;p140"/>
          <p:cNvPicPr>
            <a:picLocks noChangeAspect="1"/>
          </p:cNvPicPr>
          <p:nvPr/>
        </p:nvPicPr>
        <p:blipFill>
          <a:blip r:embed="rId2"/>
          <a:srcRect l="21926" t="31200" r="33478"/>
          <a:stretch>
            <a:fillRect/>
          </a:stretch>
        </p:blipFill>
        <p:spPr>
          <a:xfrm>
            <a:off x="5080000" y="-1"/>
            <a:ext cx="7112002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1676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7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678" name="Google Shape;1107;p140" descr="Google Shape;1107;p1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0" y="1451137"/>
            <a:ext cx="7112000" cy="4805622"/>
          </a:xfrm>
          <a:prstGeom prst="rect">
            <a:avLst/>
          </a:prstGeom>
          <a:ln w="12700">
            <a:miter lim="400000"/>
          </a:ln>
        </p:spPr>
      </p:pic>
      <p:sp>
        <p:nvSpPr>
          <p:cNvPr id="1679" name="Google Shape;1108;p140"/>
          <p:cNvSpPr txBox="1">
            <a:spLocks noGrp="1"/>
          </p:cNvSpPr>
          <p:nvPr>
            <p:ph type="body" sz="quarter" idx="21"/>
          </p:nvPr>
        </p:nvSpPr>
        <p:spPr>
          <a:xfrm>
            <a:off x="5592883" y="5581176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80" name="Google Shape;1109;p140"/>
          <p:cNvSpPr txBox="1">
            <a:spLocks noGrp="1"/>
          </p:cNvSpPr>
          <p:nvPr>
            <p:ph type="body" sz="quarter" idx="22"/>
          </p:nvPr>
        </p:nvSpPr>
        <p:spPr>
          <a:xfrm>
            <a:off x="5592883" y="5285761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81" name="Google Shape;1111;p140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682" name="Google Shape;1113;p140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6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0875272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0" name="Google Shape;1115;p141" descr="Google Shape;1115;p1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9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2952" y="3362744"/>
            <a:ext cx="1665248" cy="13706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92" name="Google Shape;1117;p141"/>
          <p:cNvSpPr txBox="1">
            <a:spLocks noGrp="1"/>
          </p:cNvSpPr>
          <p:nvPr>
            <p:ph type="body" sz="quarter" idx="21"/>
          </p:nvPr>
        </p:nvSpPr>
        <p:spPr>
          <a:xfrm>
            <a:off x="3317200" y="2918533"/>
            <a:ext cx="7115449" cy="91537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693" name="Google Shape;1119;p141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694" name="Google Shape;1121;p141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6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0188599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2" name="Google Shape;1123;p142" descr="Google Shape;1123;p1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0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0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553227" y="1939052"/>
            <a:ext cx="8579470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70694" indent="-229394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293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05" name="Google Shape;1127;p142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06" name="Google Shape;1129;p142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7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526732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8" name="PlaceHolder 4"/>
          <p:cNvSpPr>
            <a:spLocks noGrp="1"/>
          </p:cNvSpPr>
          <p:nvPr>
            <p:ph type="body"/>
          </p:nvPr>
        </p:nvSpPr>
        <p:spPr>
          <a:xfrm>
            <a:off x="623232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37051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" name="Google Shape;1131;p143" descr="Google Shape;1131;p1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15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1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53227" y="3400153"/>
            <a:ext cx="7606776" cy="1317716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85140" indent="-23749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86245" indent="-284595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17" name="Google Shape;1134;p143"/>
          <p:cNvSpPr txBox="1">
            <a:spLocks noGrp="1"/>
          </p:cNvSpPr>
          <p:nvPr>
            <p:ph type="body" sz="quarter" idx="21"/>
          </p:nvPr>
        </p:nvSpPr>
        <p:spPr>
          <a:xfrm>
            <a:off x="2553225" y="1937583"/>
            <a:ext cx="7606776" cy="118130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18" name="Google Shape;1136;p143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19" name="Google Shape;1138;p143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7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102427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7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2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29" name="Google Shape;1142;p144"/>
          <p:cNvSpPr txBox="1">
            <a:spLocks noGrp="1"/>
          </p:cNvSpPr>
          <p:nvPr>
            <p:ph type="body" sz="quarter" idx="21"/>
          </p:nvPr>
        </p:nvSpPr>
        <p:spPr>
          <a:xfrm>
            <a:off x="505541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30" name="Google Shape;1143;p144"/>
          <p:cNvSpPr/>
          <p:nvPr/>
        </p:nvSpPr>
        <p:spPr>
          <a:xfrm>
            <a:off x="510485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31" name="Google Shape;1144;p144"/>
          <p:cNvSpPr txBox="1">
            <a:spLocks noGrp="1"/>
          </p:cNvSpPr>
          <p:nvPr>
            <p:ph type="body" sz="quarter" idx="22"/>
          </p:nvPr>
        </p:nvSpPr>
        <p:spPr>
          <a:xfrm>
            <a:off x="4414932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32" name="Google Shape;1145;p144"/>
          <p:cNvSpPr txBox="1">
            <a:spLocks noGrp="1"/>
          </p:cNvSpPr>
          <p:nvPr>
            <p:ph type="body" sz="quarter" idx="23"/>
          </p:nvPr>
        </p:nvSpPr>
        <p:spPr>
          <a:xfrm>
            <a:off x="4414932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33" name="Google Shape;1146;p144"/>
          <p:cNvSpPr/>
          <p:nvPr/>
        </p:nvSpPr>
        <p:spPr>
          <a:xfrm>
            <a:off x="4419877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34" name="Google Shape;1147;p144"/>
          <p:cNvSpPr txBox="1">
            <a:spLocks noGrp="1"/>
          </p:cNvSpPr>
          <p:nvPr>
            <p:ph type="body" sz="quarter" idx="24"/>
          </p:nvPr>
        </p:nvSpPr>
        <p:spPr>
          <a:xfrm>
            <a:off x="8304444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35" name="Google Shape;1148;p144"/>
          <p:cNvSpPr txBox="1">
            <a:spLocks noGrp="1"/>
          </p:cNvSpPr>
          <p:nvPr>
            <p:ph type="body" sz="quarter" idx="25"/>
          </p:nvPr>
        </p:nvSpPr>
        <p:spPr>
          <a:xfrm>
            <a:off x="8304444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36" name="Google Shape;1149;p144"/>
          <p:cNvSpPr/>
          <p:nvPr/>
        </p:nvSpPr>
        <p:spPr>
          <a:xfrm>
            <a:off x="8309389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500600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8" y="772636"/>
            <a:ext cx="11171027" cy="45833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2043698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3" name="Google Shape;1158;p146" descr="Google Shape;1158;p1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5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47103" y="1941687"/>
            <a:ext cx="7115448" cy="2140954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55" name="Title Text"/>
          <p:cNvSpPr txBox="1">
            <a:spLocks noGrp="1"/>
          </p:cNvSpPr>
          <p:nvPr>
            <p:ph type="title"/>
          </p:nvPr>
        </p:nvSpPr>
        <p:spPr>
          <a:xfrm>
            <a:off x="505538" y="413580"/>
            <a:ext cx="11171027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56" name="Google Shape;1161;p146"/>
          <p:cNvSpPr txBox="1">
            <a:spLocks noGrp="1"/>
          </p:cNvSpPr>
          <p:nvPr>
            <p:ph type="body" sz="quarter" idx="21"/>
          </p:nvPr>
        </p:nvSpPr>
        <p:spPr>
          <a:xfrm>
            <a:off x="2734300" y="4173534"/>
            <a:ext cx="7115449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57" name="Google Shape;1162;p146"/>
          <p:cNvSpPr txBox="1">
            <a:spLocks noGrp="1"/>
          </p:cNvSpPr>
          <p:nvPr>
            <p:ph type="body" sz="quarter" idx="22"/>
          </p:nvPr>
        </p:nvSpPr>
        <p:spPr>
          <a:xfrm>
            <a:off x="2734302" y="4405009"/>
            <a:ext cx="7123915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758" name="Google Shape;1164;p146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59" name="Google Shape;1166;p146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17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0483884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7" name="Google Shape;1168;p147" descr="Google Shape;1168;p14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-1"/>
            <a:ext cx="12192004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1768" name="Google Shape;1169;p147" descr="Google Shape;1169;p1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25010"/>
            <a:ext cx="12192002" cy="3807987"/>
          </a:xfrm>
          <a:prstGeom prst="rect">
            <a:avLst/>
          </a:prstGeom>
          <a:ln w="12700">
            <a:miter lim="400000"/>
          </a:ln>
        </p:spPr>
      </p:pic>
      <p:sp>
        <p:nvSpPr>
          <p:cNvPr id="1769" name="Google Shape;1170;p147"/>
          <p:cNvSpPr txBox="1"/>
          <p:nvPr/>
        </p:nvSpPr>
        <p:spPr>
          <a:xfrm>
            <a:off x="3567561" y="2818530"/>
            <a:ext cx="5168571" cy="9233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>
              <a:defRPr sz="11400" b="1">
                <a:solidFill>
                  <a:srgbClr val="FFFFFF"/>
                </a:solidFill>
              </a:defRPr>
            </a:lvl1pPr>
          </a:lstStyle>
          <a:p>
            <a:r>
              <a:rPr sz="5700"/>
              <a:t>Thank you</a:t>
            </a:r>
          </a:p>
        </p:txBody>
      </p:sp>
      <p:sp>
        <p:nvSpPr>
          <p:cNvPr id="17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8478539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7" name="Title Text"/>
          <p:cNvSpPr txBox="1">
            <a:spLocks noGrp="1"/>
          </p:cNvSpPr>
          <p:nvPr>
            <p:ph type="title"/>
          </p:nvPr>
        </p:nvSpPr>
        <p:spPr>
          <a:xfrm>
            <a:off x="478367" y="364800"/>
            <a:ext cx="11226801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78" name="Body Level One…"/>
          <p:cNvSpPr txBox="1">
            <a:spLocks noGrp="1"/>
          </p:cNvSpPr>
          <p:nvPr>
            <p:ph type="body" idx="1"/>
          </p:nvPr>
        </p:nvSpPr>
        <p:spPr>
          <a:xfrm>
            <a:off x="478369" y="1777410"/>
            <a:ext cx="11226801" cy="4483694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79" name="Google Shape;1176;p148"/>
          <p:cNvSpPr txBox="1">
            <a:spLocks noGrp="1"/>
          </p:cNvSpPr>
          <p:nvPr>
            <p:ph type="body" sz="quarter" idx="21"/>
          </p:nvPr>
        </p:nvSpPr>
        <p:spPr>
          <a:xfrm>
            <a:off x="478368" y="950401"/>
            <a:ext cx="11226802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4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780" name="Google Shape;1177;p148"/>
          <p:cNvSpPr/>
          <p:nvPr/>
        </p:nvSpPr>
        <p:spPr>
          <a:xfrm>
            <a:off x="478367" y="860504"/>
            <a:ext cx="11226801" cy="1"/>
          </a:xfrm>
          <a:prstGeom prst="line">
            <a:avLst/>
          </a:prstGeom>
          <a:ln w="19050"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7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2850210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Title Text"/>
          <p:cNvSpPr txBox="1">
            <a:spLocks noGrp="1"/>
          </p:cNvSpPr>
          <p:nvPr>
            <p:ph type="title"/>
          </p:nvPr>
        </p:nvSpPr>
        <p:spPr>
          <a:xfrm>
            <a:off x="480002" y="364800"/>
            <a:ext cx="11225168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8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0002" y="950401"/>
            <a:ext cx="11225168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9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8711494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7" name="Title Text"/>
          <p:cNvSpPr txBox="1">
            <a:spLocks noGrp="1"/>
          </p:cNvSpPr>
          <p:nvPr>
            <p:ph type="title"/>
          </p:nvPr>
        </p:nvSpPr>
        <p:spPr>
          <a:xfrm>
            <a:off x="431373" y="188642"/>
            <a:ext cx="11425270" cy="77810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9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2288" y="6023296"/>
            <a:ext cx="10367434" cy="23749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">
                <a:latin typeface="Calibri"/>
                <a:ea typeface="Calibri"/>
                <a:cs typeface="Calibri"/>
                <a:sym typeface="Calibri"/>
              </a:defRPr>
            </a:lvl1pPr>
            <a:lvl2pPr marL="339328" indent="-5357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2pPr>
            <a:lvl3pPr marL="578644" indent="-64294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3pPr>
            <a:lvl4pPr marL="8143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4pPr>
            <a:lvl5pPr marL="10429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4977" y="6502680"/>
            <a:ext cx="89768" cy="92333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600">
                <a:solidFill>
                  <a:srgbClr val="6B747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4299471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6" name="Google Shape;1188;p151" descr="Google Shape;1188;p1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07" name="Google Shape;1189;p151" descr="Google Shape;1189;p1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3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808" name="Title Text"/>
          <p:cNvSpPr txBox="1">
            <a:spLocks noGrp="1"/>
          </p:cNvSpPr>
          <p:nvPr>
            <p:ph type="title"/>
          </p:nvPr>
        </p:nvSpPr>
        <p:spPr>
          <a:xfrm>
            <a:off x="501924" y="2945535"/>
            <a:ext cx="5673594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4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0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810" name="Google Shape;1192;p151" descr="Google Shape;1192;p1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5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8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5179847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8" name="Google Shape;1194;p152" descr="Google Shape;1194;p1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19" name="Google Shape;1195;p152" descr="Google Shape;1195;p1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3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820" name="Title Text"/>
          <p:cNvSpPr txBox="1">
            <a:spLocks noGrp="1"/>
          </p:cNvSpPr>
          <p:nvPr>
            <p:ph type="title"/>
          </p:nvPr>
        </p:nvSpPr>
        <p:spPr>
          <a:xfrm>
            <a:off x="501924" y="2945535"/>
            <a:ext cx="5673594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4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2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822" name="Google Shape;1198;p152" descr="Google Shape;1198;p1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5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8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223620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72B12-31AA-64A6-C1DE-C266501B1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3BEDC-FB36-ACCB-F87F-A3E141BBF8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3E803-A0F5-667B-5278-501906C0F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4DEFF-B433-4012-9A99-04D2C6196BF3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E66DA6-34B2-05D5-4506-E6A8F886F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029C0-BDF9-1691-7F5F-268DC5EBF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6530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2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41300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" name="Google Shape;1200;p153" descr="Google Shape;1200;p1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31" name="Google Shape;1201;p153" descr="Google Shape;1201;p1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3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1832" name="Title Text"/>
          <p:cNvSpPr txBox="1">
            <a:spLocks noGrp="1"/>
          </p:cNvSpPr>
          <p:nvPr>
            <p:ph type="title"/>
          </p:nvPr>
        </p:nvSpPr>
        <p:spPr>
          <a:xfrm>
            <a:off x="501924" y="2945535"/>
            <a:ext cx="5673594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4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3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834" name="Google Shape;1204;p153" descr="Google Shape;1204;p1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5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18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6806902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2" name="Google Shape;1206;p154" descr="Google Shape;1206;p15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43" name="Title Text"/>
          <p:cNvSpPr txBox="1">
            <a:spLocks noGrp="1"/>
          </p:cNvSpPr>
          <p:nvPr>
            <p:ph type="title"/>
          </p:nvPr>
        </p:nvSpPr>
        <p:spPr>
          <a:xfrm>
            <a:off x="505539" y="413578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9" y="1451134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45" name="Google Shape;1209;p154"/>
          <p:cNvSpPr txBox="1">
            <a:spLocks noGrp="1"/>
          </p:cNvSpPr>
          <p:nvPr>
            <p:ph type="body" sz="quarter" idx="21"/>
          </p:nvPr>
        </p:nvSpPr>
        <p:spPr>
          <a:xfrm>
            <a:off x="6079526" y="1396906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46" name="Google Shape;1210;p154"/>
          <p:cNvSpPr txBox="1">
            <a:spLocks noGrp="1"/>
          </p:cNvSpPr>
          <p:nvPr>
            <p:ph type="body" sz="quarter" idx="22"/>
          </p:nvPr>
        </p:nvSpPr>
        <p:spPr>
          <a:xfrm>
            <a:off x="7112802" y="1554546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47" name="Google Shape;1211;p154"/>
          <p:cNvSpPr txBox="1">
            <a:spLocks noGrp="1"/>
          </p:cNvSpPr>
          <p:nvPr>
            <p:ph type="body" sz="quarter" idx="23"/>
          </p:nvPr>
        </p:nvSpPr>
        <p:spPr>
          <a:xfrm>
            <a:off x="6079526" y="2411688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48" name="Google Shape;1212;p154"/>
          <p:cNvSpPr txBox="1">
            <a:spLocks noGrp="1"/>
          </p:cNvSpPr>
          <p:nvPr>
            <p:ph type="body" sz="quarter" idx="24"/>
          </p:nvPr>
        </p:nvSpPr>
        <p:spPr>
          <a:xfrm>
            <a:off x="7112802" y="256932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49" name="Google Shape;1213;p154"/>
          <p:cNvSpPr txBox="1">
            <a:spLocks noGrp="1"/>
          </p:cNvSpPr>
          <p:nvPr>
            <p:ph type="body" sz="quarter" idx="25"/>
          </p:nvPr>
        </p:nvSpPr>
        <p:spPr>
          <a:xfrm>
            <a:off x="6079526" y="3433773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50" name="Google Shape;1214;p154"/>
          <p:cNvSpPr txBox="1">
            <a:spLocks noGrp="1"/>
          </p:cNvSpPr>
          <p:nvPr>
            <p:ph type="body" sz="quarter" idx="26"/>
          </p:nvPr>
        </p:nvSpPr>
        <p:spPr>
          <a:xfrm>
            <a:off x="7112802" y="3591413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51" name="Google Shape;1215;p154"/>
          <p:cNvSpPr txBox="1">
            <a:spLocks noGrp="1"/>
          </p:cNvSpPr>
          <p:nvPr>
            <p:ph type="body" sz="quarter" idx="27"/>
          </p:nvPr>
        </p:nvSpPr>
        <p:spPr>
          <a:xfrm>
            <a:off x="6079526" y="4448556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9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52" name="Google Shape;1216;p154"/>
          <p:cNvSpPr txBox="1">
            <a:spLocks noGrp="1"/>
          </p:cNvSpPr>
          <p:nvPr>
            <p:ph type="body" sz="quarter" idx="28"/>
          </p:nvPr>
        </p:nvSpPr>
        <p:spPr>
          <a:xfrm>
            <a:off x="7112802" y="4606198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5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53" name="Google Shape;1218;p154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854" name="Google Shape;1220;p154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44546A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8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4580534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62" name="Google Shape;1222;p155" descr="Google Shape;1222;p155"/>
          <p:cNvPicPr>
            <a:picLocks noChangeAspect="1"/>
          </p:cNvPicPr>
          <p:nvPr/>
        </p:nvPicPr>
        <p:blipFill>
          <a:blip r:embed="rId2"/>
          <a:srcRect l="21926" t="31200" r="33478"/>
          <a:stretch>
            <a:fillRect/>
          </a:stretch>
        </p:blipFill>
        <p:spPr>
          <a:xfrm>
            <a:off x="5079999" y="-1"/>
            <a:ext cx="7112001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1863" name="Title Text"/>
          <p:cNvSpPr txBox="1">
            <a:spLocks noGrp="1"/>
          </p:cNvSpPr>
          <p:nvPr>
            <p:ph type="title"/>
          </p:nvPr>
        </p:nvSpPr>
        <p:spPr>
          <a:xfrm>
            <a:off x="505539" y="413578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6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9" y="1451134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865" name="Google Shape;1225;p155" descr="Google Shape;1225;p1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0" y="1451134"/>
            <a:ext cx="7112000" cy="4805622"/>
          </a:xfrm>
          <a:prstGeom prst="rect">
            <a:avLst/>
          </a:prstGeom>
          <a:ln w="12700">
            <a:miter lim="400000"/>
          </a:ln>
        </p:spPr>
      </p:pic>
      <p:sp>
        <p:nvSpPr>
          <p:cNvPr id="1866" name="Google Shape;1226;p155"/>
          <p:cNvSpPr txBox="1">
            <a:spLocks noGrp="1"/>
          </p:cNvSpPr>
          <p:nvPr>
            <p:ph type="body" sz="quarter" idx="21"/>
          </p:nvPr>
        </p:nvSpPr>
        <p:spPr>
          <a:xfrm>
            <a:off x="5592882" y="5581176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9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67" name="Google Shape;1227;p155"/>
          <p:cNvSpPr txBox="1">
            <a:spLocks noGrp="1"/>
          </p:cNvSpPr>
          <p:nvPr>
            <p:ph type="body" sz="quarter" idx="22"/>
          </p:nvPr>
        </p:nvSpPr>
        <p:spPr>
          <a:xfrm>
            <a:off x="5592882" y="5285761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68" name="Google Shape;1229;p155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869" name="Google Shape;1231;p155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44546A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8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1074407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7" name="Google Shape;1233;p156" descr="Google Shape;1233;p15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7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2952" y="3362742"/>
            <a:ext cx="1665248" cy="13706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0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0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0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0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00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79" name="Google Shape;1235;p156"/>
          <p:cNvSpPr txBox="1">
            <a:spLocks noGrp="1"/>
          </p:cNvSpPr>
          <p:nvPr>
            <p:ph type="body" sz="quarter" idx="21"/>
          </p:nvPr>
        </p:nvSpPr>
        <p:spPr>
          <a:xfrm>
            <a:off x="3317200" y="2918532"/>
            <a:ext cx="7115449" cy="91537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98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98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880" name="Google Shape;1237;p156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881" name="Google Shape;1239;p156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8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5053449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9" name="Google Shape;1241;p157" descr="Google Shape;1241;p1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90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9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553227" y="1939052"/>
            <a:ext cx="8579470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58254">
              <a:spcBef>
                <a:spcPts val="1000"/>
              </a:spcBef>
              <a:buSzPts val="4500"/>
              <a:buFont typeface="Arial"/>
              <a:defRPr sz="2250">
                <a:latin typeface="+mn-lt"/>
                <a:ea typeface="+mn-ea"/>
                <a:cs typeface="+mn-cs"/>
                <a:sym typeface="Arial"/>
              </a:defRPr>
            </a:lvl1pPr>
            <a:lvl2pPr marL="475039" indent="-267584">
              <a:spcBef>
                <a:spcPts val="1000"/>
              </a:spcBef>
              <a:buSzPts val="4500"/>
              <a:buFont typeface="Arial"/>
              <a:defRPr sz="2250">
                <a:latin typeface="+mn-lt"/>
                <a:ea typeface="+mn-ea"/>
                <a:cs typeface="+mn-cs"/>
                <a:sym typeface="Arial"/>
              </a:defRPr>
            </a:lvl2pPr>
            <a:lvl3pPr marL="736147" indent="-283201">
              <a:spcBef>
                <a:spcPts val="1000"/>
              </a:spcBef>
              <a:buSzPts val="4500"/>
              <a:buFont typeface="Arial"/>
              <a:defRPr sz="2250">
                <a:latin typeface="+mn-lt"/>
                <a:ea typeface="+mn-ea"/>
                <a:cs typeface="+mn-cs"/>
                <a:sym typeface="Arial"/>
              </a:defRPr>
            </a:lvl3pPr>
            <a:lvl4pPr marL="964747" indent="-283201">
              <a:spcBef>
                <a:spcPts val="1000"/>
              </a:spcBef>
              <a:buSzPts val="4500"/>
              <a:buFont typeface="Arial"/>
              <a:defRPr sz="2250">
                <a:latin typeface="+mn-lt"/>
                <a:ea typeface="+mn-ea"/>
                <a:cs typeface="+mn-cs"/>
                <a:sym typeface="Arial"/>
              </a:defRPr>
            </a:lvl4pPr>
            <a:lvl5pPr marL="1193347" indent="-283201">
              <a:spcBef>
                <a:spcPts val="1000"/>
              </a:spcBef>
              <a:buSzPts val="4500"/>
              <a:buFont typeface="Arial"/>
              <a:defRPr sz="225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92" name="Google Shape;1245;p157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893" name="Google Shape;1247;p157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44546A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8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1566009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1" name="Google Shape;1249;p158" descr="Google Shape;1249;p15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90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0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53227" y="3400151"/>
            <a:ext cx="7606776" cy="1317716"/>
          </a:xfrm>
          <a:prstGeom prst="rect">
            <a:avLst/>
          </a:prstGeom>
        </p:spPr>
        <p:txBody>
          <a:bodyPr lIns="45699" tIns="45699" rIns="45699" bIns="45699"/>
          <a:lstStyle>
            <a:lvl1pPr indent="-258254">
              <a:spcBef>
                <a:spcPts val="0"/>
              </a:spcBef>
              <a:buSzPts val="4500"/>
              <a:buFont typeface="Helvetica"/>
              <a:buChar char="–"/>
              <a:defRPr sz="2250">
                <a:latin typeface="+mn-lt"/>
                <a:ea typeface="+mn-ea"/>
                <a:cs typeface="+mn-cs"/>
                <a:sym typeface="Arial"/>
              </a:defRPr>
            </a:lvl1pPr>
            <a:lvl2pPr marL="487363" indent="-271463">
              <a:spcBef>
                <a:spcPts val="0"/>
              </a:spcBef>
              <a:buSzPts val="4500"/>
              <a:buFont typeface="Helvetica"/>
              <a:buChar char="–"/>
              <a:defRPr sz="2250">
                <a:latin typeface="+mn-lt"/>
                <a:ea typeface="+mn-ea"/>
                <a:cs typeface="+mn-cs"/>
                <a:sym typeface="Arial"/>
              </a:defRPr>
            </a:lvl2pPr>
            <a:lvl3pPr marL="800257" indent="-321911">
              <a:spcBef>
                <a:spcPts val="0"/>
              </a:spcBef>
              <a:buSzPts val="4500"/>
              <a:buFont typeface="Helvetica"/>
              <a:buChar char="–"/>
              <a:defRPr sz="2250">
                <a:latin typeface="+mn-lt"/>
                <a:ea typeface="+mn-ea"/>
                <a:cs typeface="+mn-cs"/>
                <a:sym typeface="Arial"/>
              </a:defRPr>
            </a:lvl3pPr>
            <a:lvl4pPr marL="964747" indent="-283201">
              <a:spcBef>
                <a:spcPts val="0"/>
              </a:spcBef>
              <a:buSzPts val="4500"/>
              <a:buFont typeface="Helvetica"/>
              <a:defRPr sz="2250">
                <a:latin typeface="+mn-lt"/>
                <a:ea typeface="+mn-ea"/>
                <a:cs typeface="+mn-cs"/>
                <a:sym typeface="Arial"/>
              </a:defRPr>
            </a:lvl4pPr>
            <a:lvl5pPr marL="1193347" indent="-283201">
              <a:spcBef>
                <a:spcPts val="0"/>
              </a:spcBef>
              <a:buSzPts val="4500"/>
              <a:buFont typeface="Helvetica"/>
              <a:defRPr sz="225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04" name="Google Shape;1252;p158"/>
          <p:cNvSpPr txBox="1">
            <a:spLocks noGrp="1"/>
          </p:cNvSpPr>
          <p:nvPr>
            <p:ph type="body" sz="quarter" idx="21"/>
          </p:nvPr>
        </p:nvSpPr>
        <p:spPr>
          <a:xfrm>
            <a:off x="2553223" y="1937581"/>
            <a:ext cx="7606776" cy="118130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5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5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05" name="Google Shape;1254;p158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06" name="Google Shape;1256;p158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44546A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9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1299544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1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9" y="1446521"/>
            <a:ext cx="3378486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45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45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45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45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45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16" name="Google Shape;1260;p159"/>
          <p:cNvSpPr txBox="1">
            <a:spLocks noGrp="1"/>
          </p:cNvSpPr>
          <p:nvPr>
            <p:ph type="body" sz="quarter" idx="21"/>
          </p:nvPr>
        </p:nvSpPr>
        <p:spPr>
          <a:xfrm>
            <a:off x="505539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17" name="Google Shape;1261;p159"/>
          <p:cNvSpPr/>
          <p:nvPr/>
        </p:nvSpPr>
        <p:spPr>
          <a:xfrm>
            <a:off x="510485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18" name="Google Shape;1262;p159"/>
          <p:cNvSpPr txBox="1">
            <a:spLocks noGrp="1"/>
          </p:cNvSpPr>
          <p:nvPr>
            <p:ph type="body" sz="quarter" idx="22"/>
          </p:nvPr>
        </p:nvSpPr>
        <p:spPr>
          <a:xfrm>
            <a:off x="4414932" y="1446521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9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19" name="Google Shape;1263;p159"/>
          <p:cNvSpPr txBox="1">
            <a:spLocks noGrp="1"/>
          </p:cNvSpPr>
          <p:nvPr>
            <p:ph type="body" sz="quarter" idx="23"/>
          </p:nvPr>
        </p:nvSpPr>
        <p:spPr>
          <a:xfrm>
            <a:off x="4414932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20" name="Google Shape;1264;p159"/>
          <p:cNvSpPr/>
          <p:nvPr/>
        </p:nvSpPr>
        <p:spPr>
          <a:xfrm>
            <a:off x="4419877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21" name="Google Shape;1265;p159"/>
          <p:cNvSpPr txBox="1">
            <a:spLocks noGrp="1"/>
          </p:cNvSpPr>
          <p:nvPr>
            <p:ph type="body" sz="quarter" idx="24"/>
          </p:nvPr>
        </p:nvSpPr>
        <p:spPr>
          <a:xfrm>
            <a:off x="8304443" y="1446521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9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22" name="Google Shape;1266;p159"/>
          <p:cNvSpPr txBox="1">
            <a:spLocks noGrp="1"/>
          </p:cNvSpPr>
          <p:nvPr>
            <p:ph type="body" sz="quarter" idx="25"/>
          </p:nvPr>
        </p:nvSpPr>
        <p:spPr>
          <a:xfrm>
            <a:off x="8304443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23" name="Google Shape;1267;p159"/>
          <p:cNvSpPr/>
          <p:nvPr/>
        </p:nvSpPr>
        <p:spPr>
          <a:xfrm>
            <a:off x="8309389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1721585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1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3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8" y="772635"/>
            <a:ext cx="11171027" cy="4583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5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5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5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5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5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3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3750109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0" name="Google Shape;1276;p161" descr="Google Shape;1276;p16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94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47103" y="1941686"/>
            <a:ext cx="7115448" cy="2140954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45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345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345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345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345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42" name="Title Text"/>
          <p:cNvSpPr txBox="1">
            <a:spLocks noGrp="1"/>
          </p:cNvSpPr>
          <p:nvPr>
            <p:ph type="title"/>
          </p:nvPr>
        </p:nvSpPr>
        <p:spPr>
          <a:xfrm>
            <a:off x="505538" y="413578"/>
            <a:ext cx="11171027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43" name="Google Shape;1279;p161"/>
          <p:cNvSpPr txBox="1">
            <a:spLocks noGrp="1"/>
          </p:cNvSpPr>
          <p:nvPr>
            <p:ph type="body" sz="quarter" idx="21"/>
          </p:nvPr>
        </p:nvSpPr>
        <p:spPr>
          <a:xfrm>
            <a:off x="2734300" y="4173532"/>
            <a:ext cx="7115449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9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44" name="Google Shape;1280;p161"/>
          <p:cNvSpPr txBox="1">
            <a:spLocks noGrp="1"/>
          </p:cNvSpPr>
          <p:nvPr>
            <p:ph type="body" sz="quarter" idx="22"/>
          </p:nvPr>
        </p:nvSpPr>
        <p:spPr>
          <a:xfrm>
            <a:off x="2734301" y="4405007"/>
            <a:ext cx="7123916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9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945" name="Google Shape;1282;p161"/>
          <p:cNvSpPr/>
          <p:nvPr/>
        </p:nvSpPr>
        <p:spPr>
          <a:xfrm>
            <a:off x="510493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46" name="Google Shape;1284;p161"/>
          <p:cNvSpPr txBox="1"/>
          <p:nvPr/>
        </p:nvSpPr>
        <p:spPr>
          <a:xfrm>
            <a:off x="514004" y="6475071"/>
            <a:ext cx="17575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r>
              <a:rPr sz="800"/>
              <a:t>SANOFI GENERAL MEDICINES  |</a:t>
            </a:r>
          </a:p>
        </p:txBody>
      </p:sp>
      <p:sp>
        <p:nvSpPr>
          <p:cNvPr id="19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9069" y="6462833"/>
            <a:ext cx="217325" cy="215401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9730688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4" name="Google Shape;1286;p162" descr="Google Shape;1286;p1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-1"/>
            <a:ext cx="12192004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1955" name="Google Shape;1287;p162" descr="Google Shape;1287;p16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" y="1525007"/>
            <a:ext cx="12192001" cy="3807988"/>
          </a:xfrm>
          <a:prstGeom prst="rect">
            <a:avLst/>
          </a:prstGeom>
          <a:ln w="12700">
            <a:miter lim="400000"/>
          </a:ln>
        </p:spPr>
      </p:pic>
      <p:sp>
        <p:nvSpPr>
          <p:cNvPr id="1956" name="Google Shape;1288;p162"/>
          <p:cNvSpPr txBox="1"/>
          <p:nvPr/>
        </p:nvSpPr>
        <p:spPr>
          <a:xfrm>
            <a:off x="3567560" y="2818529"/>
            <a:ext cx="5168570" cy="12156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>
              <a:defRPr sz="15200" b="1">
                <a:solidFill>
                  <a:srgbClr val="FFFFFF"/>
                </a:solidFill>
              </a:defRPr>
            </a:lvl1pPr>
          </a:lstStyle>
          <a:p>
            <a:r>
              <a:rPr sz="7600"/>
              <a:t>Thank you</a:t>
            </a:r>
          </a:p>
        </p:txBody>
      </p:sp>
      <p:sp>
        <p:nvSpPr>
          <p:cNvPr id="19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300558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24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5" name="PlaceHolder 3"/>
          <p:cNvSpPr>
            <a:spLocks noGrp="1"/>
          </p:cNvSpPr>
          <p:nvPr>
            <p:ph type="body"/>
          </p:nvPr>
        </p:nvSpPr>
        <p:spPr>
          <a:xfrm>
            <a:off x="609600" y="368208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356569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4" name="Title Text"/>
          <p:cNvSpPr txBox="1">
            <a:spLocks noGrp="1"/>
          </p:cNvSpPr>
          <p:nvPr>
            <p:ph type="title"/>
          </p:nvPr>
        </p:nvSpPr>
        <p:spPr>
          <a:xfrm>
            <a:off x="478367" y="364800"/>
            <a:ext cx="11226801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65" name="Body Level One…"/>
          <p:cNvSpPr txBox="1">
            <a:spLocks noGrp="1"/>
          </p:cNvSpPr>
          <p:nvPr>
            <p:ph type="body" idx="1"/>
          </p:nvPr>
        </p:nvSpPr>
        <p:spPr>
          <a:xfrm>
            <a:off x="478366" y="1777408"/>
            <a:ext cx="11226802" cy="4483694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66" name="Google Shape;1294;p163"/>
          <p:cNvSpPr txBox="1">
            <a:spLocks noGrp="1"/>
          </p:cNvSpPr>
          <p:nvPr>
            <p:ph type="body" sz="quarter" idx="21"/>
          </p:nvPr>
        </p:nvSpPr>
        <p:spPr>
          <a:xfrm>
            <a:off x="478366" y="950401"/>
            <a:ext cx="11226802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58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58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967" name="Google Shape;1295;p163"/>
          <p:cNvSpPr/>
          <p:nvPr/>
        </p:nvSpPr>
        <p:spPr>
          <a:xfrm>
            <a:off x="478367" y="860504"/>
            <a:ext cx="11226801" cy="1"/>
          </a:xfrm>
          <a:prstGeom prst="line">
            <a:avLst/>
          </a:prstGeom>
          <a:ln w="19050"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19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6865742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5" name="Title Text"/>
          <p:cNvSpPr txBox="1">
            <a:spLocks noGrp="1"/>
          </p:cNvSpPr>
          <p:nvPr>
            <p:ph type="title"/>
          </p:nvPr>
        </p:nvSpPr>
        <p:spPr>
          <a:xfrm>
            <a:off x="480002" y="364800"/>
            <a:ext cx="11225167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7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0002" y="950401"/>
            <a:ext cx="11225167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9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9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9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9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9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1750868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Title Text"/>
          <p:cNvSpPr txBox="1">
            <a:spLocks noGrp="1"/>
          </p:cNvSpPr>
          <p:nvPr>
            <p:ph type="title"/>
          </p:nvPr>
        </p:nvSpPr>
        <p:spPr>
          <a:xfrm>
            <a:off x="431371" y="188640"/>
            <a:ext cx="11425270" cy="77810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8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2286" y="6023294"/>
            <a:ext cx="10367434" cy="23749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357188" indent="-71438">
              <a:spcBef>
                <a:spcPts val="1000"/>
              </a:spcBef>
              <a:buClrTx/>
              <a:buSzPts val="2000"/>
              <a:buFontTx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600075" indent="-85725">
              <a:spcBef>
                <a:spcPts val="1000"/>
              </a:spcBef>
              <a:buClrTx/>
              <a:buSzPts val="2000"/>
              <a:buFontTx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838200" indent="-95250">
              <a:spcBef>
                <a:spcPts val="1000"/>
              </a:spcBef>
              <a:buClrTx/>
              <a:buSzPts val="2000"/>
              <a:buFontTx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1066800" indent="-95250">
              <a:spcBef>
                <a:spcPts val="1000"/>
              </a:spcBef>
              <a:buClrTx/>
              <a:buSzPts val="2000"/>
              <a:buFontTx/>
              <a:defRPr sz="10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8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82917" y="6487288"/>
            <a:ext cx="121828" cy="123111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rgbClr val="6B747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5076392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9C9C9C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5367309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CA38A-6D23-4680-876A-BCC01370225A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CD69E-D186-41CB-A6B2-AF1A7FFAF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07696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45A7D-B1F2-480B-A4C4-267614BDC41D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CD69E-D186-41CB-A6B2-AF1A7FFAF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81563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CBC5B5-433D-4BB6-B6B4-0E6B2764586A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1394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D04B8-4FCF-434F-B302-5794D8D7986D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725686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DE00A-837D-4ED0-8DA9-A0F898539C2D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311702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4DC896-6BE6-4B50-9670-BA9522D893EB}" type="datetime1">
              <a:rPr lang="en-US" smtClean="0"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6989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0" name="PlaceHolder 5"/>
          <p:cNvSpPr>
            <a:spLocks noGrp="1"/>
          </p:cNvSpPr>
          <p:nvPr>
            <p:ph type="body"/>
          </p:nvPr>
        </p:nvSpPr>
        <p:spPr>
          <a:xfrm>
            <a:off x="623232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631215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50815-F669-4F58-8726-F761BA2E8816}" type="datetime1">
              <a:rPr lang="en-US" smtClean="0"/>
              <a:t>5/1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429557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A5BC7-C5AC-4793-838B-87A90AA1632E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232132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9DE67-8B8C-457A-B574-A1EB799DE279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933623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306C4-FA86-4D0B-9CEA-C01BFBF44302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51431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39F29-5F2A-4DDC-AF66-AFECE167A0A5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038737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756508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8" y="5"/>
            <a:ext cx="158751" cy="158751"/>
          </a:xfrm>
          <a:prstGeom prst="rect">
            <a:avLst/>
          </a:prstGeom>
          <a:solidFill>
            <a:srgbClr val="FFFF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/>
              <a:ea typeface="+mj-ea"/>
              <a:cs typeface="Arial" charset="0"/>
              <a:sym typeface="Arial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E873AB7-7E63-4A48-B9A0-2D869D756E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8953" y="117925"/>
            <a:ext cx="11214101" cy="693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95809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F9C144-8D45-EA4D-9824-2982ED1A2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33DB2A4-8CF4-9C4F-BAFE-4B3AD4CD4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F6F566B-A703-694F-9ABE-3147A5BBA8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0A2E64C-F728-744B-B5B7-36D156F5CED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1D419B6-7DF5-534B-B401-E4663E1DB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96078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F9C144-8D45-EA4D-9824-2982ED1A2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A3F7B7-9460-6342-9765-3192FEFE5F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12" name="Title 8">
            <a:extLst>
              <a:ext uri="{FF2B5EF4-FFF2-40B4-BE49-F238E27FC236}">
                <a16:creationId xmlns:a16="http://schemas.microsoft.com/office/drawing/2014/main" id="{3C06C2D2-4EC1-0F4E-8A29-087F512FF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9A20688-29B6-4243-9FF0-7C1E31578E2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2BC60B6-4F45-714E-B708-0D07307BD35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4801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704306-A211-1F44-B748-014FA8BBB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BD7A9B-EFA8-7B4A-8382-B021FDF8C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15" name="Title 8">
            <a:extLst>
              <a:ext uri="{FF2B5EF4-FFF2-40B4-BE49-F238E27FC236}">
                <a16:creationId xmlns:a16="http://schemas.microsoft.com/office/drawing/2014/main" id="{C5A57E23-4CF1-BE40-AE11-E18C40BC8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CABF78-D915-4F4A-9C68-4BD1103B5AB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3D13747-D260-384F-BE87-73B3AB17C6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6586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EDF53C96-E2B8-A946-A365-2D2B5AF9DD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541" y="413580"/>
            <a:ext cx="4000201" cy="458329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Slide heading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541" y="1451136"/>
            <a:ext cx="4000201" cy="3145107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0C6295F-DD0A-E143-813F-91DC9B85EAF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79527" y="1396908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112803" y="1554549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56416B-6603-E44C-A485-E35BB676902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079527" y="2411691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193443E-4B7D-5B4C-9A8D-7D984826AD4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112803" y="2569332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DE0BB90-A43F-D74E-B109-13C08F00DC18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79527" y="3433774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915C833-6005-714C-B36B-F39DD4D3214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112803" y="3591415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15E6EBD-7F6D-2840-BD67-BAF403D6990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079527" y="4448559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D9A7416-D7DC-B541-8708-38F05752C43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112803" y="4606200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85B3CF74-75EA-F745-9FB9-7A3DE129E4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A5AA4B5-9493-774F-AAFA-EA888F19632B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ooter Placeholder 12">
            <a:extLst>
              <a:ext uri="{FF2B5EF4-FFF2-40B4-BE49-F238E27FC236}">
                <a16:creationId xmlns:a16="http://schemas.microsoft.com/office/drawing/2014/main" id="{52C252D1-EF85-5547-97C5-9527ECD364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3D6CD6-6714-D54B-9E89-FC05CA28223E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1659432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 type="body"/>
          </p:nvPr>
        </p:nvSpPr>
        <p:spPr>
          <a:xfrm>
            <a:off x="431952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 type="body"/>
          </p:nvPr>
        </p:nvSpPr>
        <p:spPr>
          <a:xfrm>
            <a:off x="802944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 type="body"/>
          </p:nvPr>
        </p:nvSpPr>
        <p:spPr>
          <a:xfrm>
            <a:off x="60960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6" name="PlaceHolder 6"/>
          <p:cNvSpPr>
            <a:spLocks noGrp="1"/>
          </p:cNvSpPr>
          <p:nvPr>
            <p:ph type="body"/>
          </p:nvPr>
        </p:nvSpPr>
        <p:spPr>
          <a:xfrm>
            <a:off x="431952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7" name="PlaceHolder 7"/>
          <p:cNvSpPr>
            <a:spLocks noGrp="1"/>
          </p:cNvSpPr>
          <p:nvPr>
            <p:ph type="body"/>
          </p:nvPr>
        </p:nvSpPr>
        <p:spPr>
          <a:xfrm>
            <a:off x="802944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501540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F0C1C5B-AD12-1348-A3CB-FB72921BD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21926" t="31200" r="33479"/>
          <a:stretch/>
        </p:blipFill>
        <p:spPr>
          <a:xfrm>
            <a:off x="5080001" y="0"/>
            <a:ext cx="711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541" y="413580"/>
            <a:ext cx="4000201" cy="458329"/>
          </a:xfrm>
        </p:spPr>
        <p:txBody>
          <a:bodyPr/>
          <a:lstStyle/>
          <a:p>
            <a:r>
              <a:rPr lang="en-GB"/>
              <a:t>Slide heading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541" y="1451136"/>
            <a:ext cx="4000201" cy="3145107"/>
          </a:xfrm>
        </p:spPr>
        <p:txBody>
          <a:bodyPr/>
          <a:lstStyle>
            <a:lvl1pPr>
              <a:defRPr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5857E7-5B1C-B047-9F0C-CD6796338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0000" y="1451137"/>
            <a:ext cx="7112000" cy="4805621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54BEE4-435D-3043-9578-5D4A0EC5A82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592883" y="5581176"/>
            <a:ext cx="2450452" cy="350512"/>
          </a:xfrm>
        </p:spPr>
        <p:txBody>
          <a:bodyPr anchor="t" anchorCtr="0"/>
          <a:lstStyle>
            <a:lvl1pPr marL="0" indent="0">
              <a:buNone/>
              <a:defRPr lang="en-GB" sz="11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pporting copy Lorem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FE39BBB-0C30-9049-830D-D91F982E4480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592883" y="5285761"/>
            <a:ext cx="2450452" cy="350512"/>
          </a:xfrm>
        </p:spPr>
        <p:txBody>
          <a:bodyPr anchor="t" anchorCtr="0"/>
          <a:lstStyle>
            <a:lvl1pPr marL="0" indent="0">
              <a:buNone/>
              <a:defRPr lang="en-GB" sz="15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Image caption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CAD19CBB-3B5F-AD41-A14C-44202F9861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ED79610-7B88-3044-A038-80F05478DB67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12">
            <a:extLst>
              <a:ext uri="{FF2B5EF4-FFF2-40B4-BE49-F238E27FC236}">
                <a16:creationId xmlns:a16="http://schemas.microsoft.com/office/drawing/2014/main" id="{A1FFAE23-02F1-4740-B25E-352BB1B065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84C88C1-3070-DC49-9748-2C0989761770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124209199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63CA03D6-EBD9-6D45-AD4C-C98FDED0B4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0C6295F-DD0A-E143-813F-91DC9B85EAF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2952" y="3362744"/>
            <a:ext cx="1665248" cy="1370631"/>
          </a:xfrm>
        </p:spPr>
        <p:txBody>
          <a:bodyPr anchor="t" anchorCtr="0"/>
          <a:lstStyle>
            <a:lvl1pPr marL="0" indent="0">
              <a:buNone/>
              <a:defRPr sz="7500" b="0" i="0" spc="-3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317200" y="2918534"/>
            <a:ext cx="7115448" cy="915371"/>
          </a:xfrm>
        </p:spPr>
        <p:txBody>
          <a:bodyPr anchor="t" anchorCtr="0"/>
          <a:lstStyle>
            <a:lvl1pPr marL="0" indent="0">
              <a:buNone/>
              <a:defRPr sz="37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Divider slide heading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914D09D1-5C57-8743-AC95-BCEF95051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64BBF5-8EEF-F047-9F0C-EFA08219D18C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12">
            <a:extLst>
              <a:ext uri="{FF2B5EF4-FFF2-40B4-BE49-F238E27FC236}">
                <a16:creationId xmlns:a16="http://schemas.microsoft.com/office/drawing/2014/main" id="{73222B26-5772-B847-B17D-F20A2F5EF3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AE1053E-3639-254A-8952-75CB3B85319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18526239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C56019-8D4C-3F46-9548-C930EFD20A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3228" y="1939052"/>
            <a:ext cx="8579469" cy="3145107"/>
          </a:xfrm>
        </p:spPr>
        <p:txBody>
          <a:bodyPr/>
          <a:lstStyle>
            <a:lvl1pPr>
              <a:defRPr sz="1700"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>
              <a:defRPr sz="1600" b="0" i="0"/>
            </a:lvl2pPr>
            <a:lvl3pPr>
              <a:defRPr sz="1400" b="0" i="0"/>
            </a:lvl3pPr>
            <a:lvl4pPr>
              <a:defRPr sz="1400" b="0" i="0"/>
            </a:lvl4pPr>
            <a:lvl5pPr>
              <a:defRPr sz="1400"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139F2B6-C703-A744-B97D-70D1A2AC93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F87BC5B-1620-E646-B6B1-076F6C067F0F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12">
            <a:extLst>
              <a:ext uri="{FF2B5EF4-FFF2-40B4-BE49-F238E27FC236}">
                <a16:creationId xmlns:a16="http://schemas.microsoft.com/office/drawing/2014/main" id="{6DA64A6B-9A58-5844-85EC-BB1B702B67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72D2A3-8E3E-1B45-BFC1-7EB89563CAC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275477665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0F3F59AE-A48D-4E4A-928B-220F720876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E19F9E-8818-EF40-83DC-DE57081E49C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553227" y="3400154"/>
            <a:ext cx="7606775" cy="1317715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defRPr sz="1700"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12731" indent="-153984">
              <a:spcBef>
                <a:spcPts val="0"/>
              </a:spcBef>
              <a:spcAft>
                <a:spcPts val="1400"/>
              </a:spcAft>
              <a:buFont typeface="System Font Regular"/>
              <a:buChar char="–"/>
              <a:tabLst/>
              <a:defRPr sz="1500" b="0" i="0"/>
            </a:lvl2pPr>
            <a:lvl3pPr marL="461951" indent="-149222"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100" b="0" i="0"/>
            </a:lvl3pPr>
            <a:lvl4pPr>
              <a:spcBef>
                <a:spcPts val="0"/>
              </a:spcBef>
              <a:spcAft>
                <a:spcPts val="900"/>
              </a:spcAft>
              <a:defRPr sz="1400"/>
            </a:lvl4pPr>
            <a:lvl5pPr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Bullet point text line 1 17pt</a:t>
            </a:r>
          </a:p>
          <a:p>
            <a:pPr lvl="1"/>
            <a:r>
              <a:rPr lang="en-GB"/>
              <a:t>Bullet point text line 2 15pt</a:t>
            </a:r>
          </a:p>
          <a:p>
            <a:pPr lvl="2"/>
            <a:r>
              <a:rPr lang="en-GB"/>
              <a:t>Bullet point text line 3 11p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EC43BCF-78B2-4742-8CEF-C78E2530819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3226" y="1937583"/>
            <a:ext cx="7606775" cy="1181305"/>
          </a:xfrm>
        </p:spPr>
        <p:txBody>
          <a:bodyPr anchor="t" anchorCtr="0"/>
          <a:lstStyle>
            <a:lvl1pPr marL="0" indent="0">
              <a:buNone/>
              <a:defRPr lang="en-GB" sz="17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1FD3FD7-524A-4240-AB5F-EA2292097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D985F63-7E58-2942-A9AD-3CAA4ADED6E5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12">
            <a:extLst>
              <a:ext uri="{FF2B5EF4-FFF2-40B4-BE49-F238E27FC236}">
                <a16:creationId xmlns:a16="http://schemas.microsoft.com/office/drawing/2014/main" id="{6D0736BF-C7CF-5148-B0A2-3E74238DF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16B7035-F4D9-7544-89EA-6C2317B2DC6D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382386294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B5CACB0-CBD6-D840-8A4D-275C9E9217A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05541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236A3B-86E1-2142-949F-424130F754C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05541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376A5C8-D976-FF48-A3A0-5CB80C25D55A}"/>
              </a:ext>
            </a:extLst>
          </p:cNvPr>
          <p:cNvCxnSpPr>
            <a:cxnSpLocks/>
          </p:cNvCxnSpPr>
          <p:nvPr userDrawn="1"/>
        </p:nvCxnSpPr>
        <p:spPr>
          <a:xfrm>
            <a:off x="510485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EF40355-C932-DD4C-B1CC-10320F831BB3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14933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2F1B37B-9E55-F547-9B29-EE91D1718B5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414933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85B44C-6531-EC43-84C4-CBC93FA419F5}"/>
              </a:ext>
            </a:extLst>
          </p:cNvPr>
          <p:cNvCxnSpPr>
            <a:cxnSpLocks/>
          </p:cNvCxnSpPr>
          <p:nvPr userDrawn="1"/>
        </p:nvCxnSpPr>
        <p:spPr>
          <a:xfrm>
            <a:off x="4419877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84EAE2E-BFDA-424F-BE4A-A4FEECF6020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304445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6872699-341C-0640-BF6C-C886194CB16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304445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95CAB4-3967-7C41-B6B7-F087BE9E3710}"/>
              </a:ext>
            </a:extLst>
          </p:cNvPr>
          <p:cNvCxnSpPr>
            <a:cxnSpLocks/>
          </p:cNvCxnSpPr>
          <p:nvPr userDrawn="1"/>
        </p:nvCxnSpPr>
        <p:spPr>
          <a:xfrm>
            <a:off x="8309389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0AB920E-B1F9-804B-A4E6-D58ED15384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Footer Placeholder 12">
            <a:extLst>
              <a:ext uri="{FF2B5EF4-FFF2-40B4-BE49-F238E27FC236}">
                <a16:creationId xmlns:a16="http://schemas.microsoft.com/office/drawing/2014/main" id="{D3B137F4-9350-B84A-8C77-33CB55DC8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888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EBC72A-BBD8-534D-9A82-A3C5C9014A1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05538" y="772636"/>
            <a:ext cx="11171027" cy="458331"/>
          </a:xfrm>
        </p:spPr>
        <p:txBody>
          <a:bodyPr anchor="t" anchorCtr="0"/>
          <a:lstStyle>
            <a:lvl1pPr marL="0" indent="0">
              <a:buNone/>
              <a:defRPr lang="en-GB" sz="19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placeholder example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298CCB0-62FB-E144-8C8D-1CB1F29DF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2">
            <a:extLst>
              <a:ext uri="{FF2B5EF4-FFF2-40B4-BE49-F238E27FC236}">
                <a16:creationId xmlns:a16="http://schemas.microsoft.com/office/drawing/2014/main" id="{A8406112-9615-464E-8198-D3B325531D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30794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FF88690-6E3C-EB41-A03C-00A19BBF63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547103" y="1941688"/>
            <a:ext cx="7115448" cy="2140953"/>
          </a:xfrm>
        </p:spPr>
        <p:txBody>
          <a:bodyPr anchor="t" anchorCtr="0"/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"Quote or large statement lorem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sit </a:t>
            </a:r>
            <a:r>
              <a:rPr lang="en-GB" err="1"/>
              <a:t>adipiscing</a:t>
            </a:r>
            <a:r>
              <a:rPr lang="en-GB"/>
              <a:t> </a:t>
            </a:r>
          </a:p>
          <a:p>
            <a:pPr lvl="0"/>
            <a:r>
              <a:rPr lang="en-GB"/>
              <a:t>set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semper."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C4A5220-3042-AE40-AF5B-EA66A5C90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538" y="413580"/>
            <a:ext cx="11171027" cy="4583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F5F6F09-3FEA-044B-8142-E13E21B68E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734300" y="4173534"/>
            <a:ext cx="7115448" cy="306565"/>
          </a:xfrm>
        </p:spPr>
        <p:txBody>
          <a:bodyPr anchor="t" anchorCtr="0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63981E-0ED7-724C-8E39-62D9E5AFA23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734302" y="4405010"/>
            <a:ext cx="7123915" cy="306565"/>
          </a:xfrm>
        </p:spPr>
        <p:txBody>
          <a:bodyPr anchor="t" anchorCtr="0"/>
          <a:lstStyle>
            <a:lvl1pPr marL="0" indent="0">
              <a:buNone/>
              <a:defRPr sz="11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Job title, Location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EBC9199-E95B-E84B-BDC6-2E1AD00734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EFD150-EA0C-8A4B-ACD9-757259FB8938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2">
            <a:extLst>
              <a:ext uri="{FF2B5EF4-FFF2-40B4-BE49-F238E27FC236}">
                <a16:creationId xmlns:a16="http://schemas.microsoft.com/office/drawing/2014/main" id="{62319A0F-928D-BF4B-8BBB-31D144089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04091D-0790-BC4B-BCBB-3B67CE5613A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21237257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19F9588-B72A-5843-B0DA-063E34501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-1"/>
            <a:ext cx="12192003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15770E-FCCD-2F4E-B322-0BB7556E3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525010"/>
            <a:ext cx="12192001" cy="380798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620ECD4-D780-9A4B-B7C8-864E3194F493}"/>
              </a:ext>
            </a:extLst>
          </p:cNvPr>
          <p:cNvSpPr txBox="1"/>
          <p:nvPr userDrawn="1"/>
        </p:nvSpPr>
        <p:spPr>
          <a:xfrm>
            <a:off x="3544699" y="2818531"/>
            <a:ext cx="5214295" cy="12581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57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2802331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777410"/>
            <a:ext cx="11226801" cy="4483693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9" y="950401"/>
            <a:ext cx="112268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478367" y="860504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1628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1"/>
            <a:ext cx="11225167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478369" y="1653119"/>
            <a:ext cx="11226801" cy="4428067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1003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_AND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ody Level One…"/>
          <p:cNvSpPr txBox="1">
            <a:spLocks noGrp="1"/>
          </p:cNvSpPr>
          <p:nvPr>
            <p:ph type="body" idx="1"/>
          </p:nvPr>
        </p:nvSpPr>
        <p:spPr>
          <a:xfrm>
            <a:off x="603250" y="537963"/>
            <a:ext cx="10985500" cy="3620793"/>
          </a:xfrm>
          <a:prstGeom prst="rect">
            <a:avLst/>
          </a:prstGeom>
        </p:spPr>
        <p:txBody>
          <a:bodyPr anchor="b"/>
          <a:lstStyle>
            <a:lvl1pPr marL="114300" indent="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2500" b="1"/>
            </a:lvl1pPr>
            <a:lvl2pPr marL="114300" indent="2286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2500" b="1"/>
            </a:lvl2pPr>
            <a:lvl3pPr marL="114300" indent="4572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2500" b="1"/>
            </a:lvl3pPr>
            <a:lvl4pPr marL="114300" indent="6858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2500" b="1"/>
            </a:lvl4pPr>
            <a:lvl5pPr marL="114300" indent="9144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25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" name="Google Shape;11;p45"/>
          <p:cNvSpPr txBox="1">
            <a:spLocks noGrp="1"/>
          </p:cNvSpPr>
          <p:nvPr>
            <p:ph type="body" sz="quarter" idx="21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 algn="ctr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lvl1pPr>
          </a:lstStyle>
          <a:p>
            <a:pPr marL="228600" indent="0" algn="ctr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pP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6993543"/>
      </p:ext>
    </p:extLst>
  </p:cSld>
  <p:clrMapOvr>
    <a:masterClrMapping/>
  </p:clrMapOvr>
  <p:transition spd="med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21911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42" progId="TCLayout.ActiveDocument.1">
                  <p:embed/>
                </p:oleObj>
              </mc:Choice>
              <mc:Fallback>
                <p:oleObj name="think-cell Slide" r:id="rId3" imgW="530" imgH="54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1373" y="188643"/>
            <a:ext cx="11425269" cy="7780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2289" y="6023296"/>
            <a:ext cx="10367433" cy="2374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7799CEF-DACC-4949-921D-05A535D50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9995" y="6502680"/>
            <a:ext cx="414748" cy="9233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 defTabSz="514337"/>
            <a:fld id="{980E94A8-0648-D043-B8F7-3AFA110B04BE}" type="slidenum">
              <a:rPr lang="en-US" smtClean="0">
                <a:solidFill>
                  <a:srgbClr val="6B747B"/>
                </a:solidFill>
              </a:rPr>
              <a:pPr defTabSz="514337"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12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2FA24B-C72E-41F1-85D9-0E5E96547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7" name="Connecteur droit 29">
            <a:extLst>
              <a:ext uri="{FF2B5EF4-FFF2-40B4-BE49-F238E27FC236}">
                <a16:creationId xmlns:a16="http://schemas.microsoft.com/office/drawing/2014/main" id="{D67FDD2A-EF40-4DF1-89C7-55710F26FF60}"/>
              </a:ext>
            </a:extLst>
          </p:cNvPr>
          <p:cNvCxnSpPr/>
          <p:nvPr userDrawn="1"/>
        </p:nvCxnSpPr>
        <p:spPr>
          <a:xfrm>
            <a:off x="11434233" y="6460144"/>
            <a:ext cx="0" cy="135467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10">
            <a:extLst>
              <a:ext uri="{FF2B5EF4-FFF2-40B4-BE49-F238E27FC236}">
                <a16:creationId xmlns:a16="http://schemas.microsoft.com/office/drawing/2014/main" id="{17A24DA0-4C0C-4FB4-A319-AAE4801C4F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114" y="6207023"/>
            <a:ext cx="1519187" cy="58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57697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7C7B6-1DA8-4C52-9189-49DE92641C05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CD69E-D186-41CB-A6B2-AF1A7FFAF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67901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DC5F8-B029-47E4-A1F2-7EF74BC88E21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CD69E-D186-41CB-A6B2-AF1A7FFAF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76463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CC004C-CBAD-4D72-A5CE-7BAB938970D7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461736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76770-8162-4EAA-B4E1-9D6E5091E36A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627572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C9692-EED9-4206-9CC7-FB01A42D0C25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781699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F9C-E3FD-4CEB-98F5-3281404F6F26}" type="datetime1">
              <a:rPr lang="en-US" smtClean="0"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942303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15B38-422D-4B62-891D-60347A85B96A}" type="datetime1">
              <a:rPr lang="en-US" smtClean="0"/>
              <a:t>5/1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251469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323A9-DA61-49E8-A2F4-44C0867A7ABE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0540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14;p234"/>
          <p:cNvSpPr>
            <a:spLocks noGrp="1"/>
          </p:cNvSpPr>
          <p:nvPr>
            <p:ph type="pic" idx="21"/>
          </p:nvPr>
        </p:nvSpPr>
        <p:spPr>
          <a:xfrm>
            <a:off x="-577850" y="-647700"/>
            <a:ext cx="13373100" cy="800946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603250" y="3562350"/>
            <a:ext cx="10985500" cy="2324100"/>
          </a:xfrm>
          <a:prstGeom prst="rect">
            <a:avLst/>
          </a:prstGeom>
        </p:spPr>
        <p:txBody>
          <a:bodyPr anchor="b"/>
          <a:lstStyle>
            <a:lvl1pPr>
              <a:defRPr sz="5800"/>
            </a:lvl1pPr>
          </a:lstStyle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845" y="553069"/>
            <a:ext cx="10984311" cy="31849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 b="1"/>
            </a:lvl1pPr>
            <a:lvl2pPr marL="4110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2pPr>
            <a:lvl3pPr marL="6396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3pPr>
            <a:lvl4pPr marL="8682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4pPr>
            <a:lvl5pPr marL="1096851" indent="-138446">
              <a:lnSpc>
                <a:spcPct val="100000"/>
              </a:lnSpc>
              <a:spcBef>
                <a:spcPts val="0"/>
              </a:spcBef>
              <a:buClrTx/>
              <a:buSzPts val="3600"/>
              <a:buFontTx/>
              <a:defRPr sz="18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Google Shape;17;p234"/>
          <p:cNvSpPr txBox="1">
            <a:spLocks noGrp="1"/>
          </p:cNvSpPr>
          <p:nvPr>
            <p:ph type="body" sz="quarter" idx="22"/>
          </p:nvPr>
        </p:nvSpPr>
        <p:spPr>
          <a:xfrm>
            <a:off x="603250" y="5804955"/>
            <a:ext cx="10985500" cy="558477"/>
          </a:xfrm>
          <a:prstGeom prst="rect">
            <a:avLst/>
          </a:prstGeom>
        </p:spPr>
        <p:txBody>
          <a:bodyPr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lvl1pPr>
          </a:lstStyle>
          <a:p>
            <a:pPr marL="2286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5500" b="1"/>
            </a:pPr>
            <a:endParaRPr/>
          </a:p>
        </p:txBody>
      </p:sp>
      <p:sp>
        <p:nvSpPr>
          <p:cNvPr id="2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7277191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84067-9531-4448-9E13-D164104750EF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560718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B5D09-8CAB-49FD-A61B-676484A94954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678254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D4A4-32DE-4736-867F-E24CC97A739B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02916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756508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8" y="5"/>
            <a:ext cx="158751" cy="158751"/>
          </a:xfrm>
          <a:prstGeom prst="rect">
            <a:avLst/>
          </a:prstGeom>
          <a:solidFill>
            <a:srgbClr val="FFFF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/>
              <a:ea typeface="+mj-ea"/>
              <a:cs typeface="Arial" charset="0"/>
              <a:sym typeface="Arial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E873AB7-7E63-4A48-B9A0-2D869D756E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8953" y="117925"/>
            <a:ext cx="11214101" cy="693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72598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F9C144-8D45-EA4D-9824-2982ED1A2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33DB2A4-8CF4-9C4F-BAFE-4B3AD4CD4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F6F566B-A703-694F-9ABE-3147A5BBA8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0A2E64C-F728-744B-B5B7-36D156F5CED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1D419B6-7DF5-534B-B401-E4663E1DB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28640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F9C144-8D45-EA4D-9824-2982ED1A2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A3F7B7-9460-6342-9765-3192FEFE5F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12" name="Title 8">
            <a:extLst>
              <a:ext uri="{FF2B5EF4-FFF2-40B4-BE49-F238E27FC236}">
                <a16:creationId xmlns:a16="http://schemas.microsoft.com/office/drawing/2014/main" id="{3C06C2D2-4EC1-0F4E-8A29-087F512FF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9A20688-29B6-4243-9FF0-7C1E31578E2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2BC60B6-4F45-714E-B708-0D07307BD35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672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704306-A211-1F44-B748-014FA8BBB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BD7A9B-EFA8-7B4A-8382-B021FDF8C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63275"/>
            <a:ext cx="12192000" cy="4945181"/>
          </a:xfrm>
          <a:prstGeom prst="rect">
            <a:avLst/>
          </a:prstGeom>
        </p:spPr>
      </p:pic>
      <p:sp>
        <p:nvSpPr>
          <p:cNvPr id="15" name="Title 8">
            <a:extLst>
              <a:ext uri="{FF2B5EF4-FFF2-40B4-BE49-F238E27FC236}">
                <a16:creationId xmlns:a16="http://schemas.microsoft.com/office/drawing/2014/main" id="{C5A57E23-4CF1-BE40-AE11-E18C40BC8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25" y="2945535"/>
            <a:ext cx="5673593" cy="1431996"/>
          </a:xfrm>
        </p:spPr>
        <p:txBody>
          <a:bodyPr/>
          <a:lstStyle>
            <a:lvl1pPr>
              <a:lnSpc>
                <a:spcPct val="85000"/>
              </a:lnSpc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over two lines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CABF78-D915-4F4A-9C68-4BD1103B5AB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1923" y="4442180"/>
            <a:ext cx="5673592" cy="823912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example</a:t>
            </a:r>
            <a:br>
              <a:rPr lang="en-GB"/>
            </a:br>
            <a:r>
              <a:rPr lang="en-GB"/>
              <a:t>00 Month 0000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3D13747-D260-384F-BE87-73B3AB17C6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05046" y="5823143"/>
            <a:ext cx="4275124" cy="3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524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EDF53C96-E2B8-A946-A365-2D2B5AF9DD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541" y="413580"/>
            <a:ext cx="4000201" cy="458329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Slide heading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541" y="1451136"/>
            <a:ext cx="4000201" cy="3145107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0C6295F-DD0A-E143-813F-91DC9B85EAF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79527" y="1396908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112803" y="1554549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56416B-6603-E44C-A485-E35BB676902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079527" y="2411691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193443E-4B7D-5B4C-9A8D-7D984826AD4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112803" y="2569332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DE0BB90-A43F-D74E-B109-13C08F00DC18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079527" y="3433774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915C833-6005-714C-B36B-F39DD4D3214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112803" y="3591415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15E6EBD-7F6D-2840-BD67-BAF403D6990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079527" y="4448559"/>
            <a:ext cx="890668" cy="728139"/>
          </a:xfrm>
        </p:spPr>
        <p:txBody>
          <a:bodyPr anchor="t" anchorCtr="0"/>
          <a:lstStyle>
            <a:lvl1pPr marL="0" indent="0">
              <a:buNone/>
              <a:defRPr sz="37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D9A7416-D7DC-B541-8708-38F05752C43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112803" y="4606200"/>
            <a:ext cx="4235908" cy="583551"/>
          </a:xfrm>
        </p:spPr>
        <p:txBody>
          <a:bodyPr anchor="t" anchorCtr="0"/>
          <a:lstStyle>
            <a:lvl1pPr marL="0" indent="0">
              <a:buNone/>
              <a:defRPr sz="19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Agenda example lorem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85B3CF74-75EA-F745-9FB9-7A3DE129E4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A5AA4B5-9493-774F-AAFA-EA888F19632B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ooter Placeholder 12">
            <a:extLst>
              <a:ext uri="{FF2B5EF4-FFF2-40B4-BE49-F238E27FC236}">
                <a16:creationId xmlns:a16="http://schemas.microsoft.com/office/drawing/2014/main" id="{52C252D1-EF85-5547-97C5-9527ECD364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3D6CD6-6714-D54B-9E89-FC05CA28223E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23586153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F0C1C5B-AD12-1348-A3CB-FB72921BD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21926" t="31200" r="33479"/>
          <a:stretch/>
        </p:blipFill>
        <p:spPr>
          <a:xfrm>
            <a:off x="5080001" y="0"/>
            <a:ext cx="711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541" y="413580"/>
            <a:ext cx="4000201" cy="458329"/>
          </a:xfrm>
        </p:spPr>
        <p:txBody>
          <a:bodyPr/>
          <a:lstStyle/>
          <a:p>
            <a:r>
              <a:rPr lang="en-GB"/>
              <a:t>Slide heading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541" y="1451136"/>
            <a:ext cx="4000201" cy="3145107"/>
          </a:xfrm>
        </p:spPr>
        <p:txBody>
          <a:bodyPr/>
          <a:lstStyle>
            <a:lvl1pPr>
              <a:defRPr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5857E7-5B1C-B047-9F0C-CD6796338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0000" y="1451137"/>
            <a:ext cx="7112000" cy="4805621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54BEE4-435D-3043-9578-5D4A0EC5A82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592883" y="5581176"/>
            <a:ext cx="2450452" cy="350512"/>
          </a:xfrm>
        </p:spPr>
        <p:txBody>
          <a:bodyPr anchor="t" anchorCtr="0"/>
          <a:lstStyle>
            <a:lvl1pPr marL="0" indent="0">
              <a:buNone/>
              <a:defRPr lang="en-GB" sz="11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pporting copy Lorem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FE39BBB-0C30-9049-830D-D91F982E4480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592883" y="5285761"/>
            <a:ext cx="2450452" cy="350512"/>
          </a:xfrm>
        </p:spPr>
        <p:txBody>
          <a:bodyPr anchor="t" anchorCtr="0"/>
          <a:lstStyle>
            <a:lvl1pPr marL="0" indent="0">
              <a:buNone/>
              <a:defRPr lang="en-GB" sz="15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Image caption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CAD19CBB-3B5F-AD41-A14C-44202F9861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ED79610-7B88-3044-A038-80F05478DB67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12">
            <a:extLst>
              <a:ext uri="{FF2B5EF4-FFF2-40B4-BE49-F238E27FC236}">
                <a16:creationId xmlns:a16="http://schemas.microsoft.com/office/drawing/2014/main" id="{A1FFAE23-02F1-4740-B25E-352BB1B065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84C88C1-3070-DC49-9748-2C0989761770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427763587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63CA03D6-EBD9-6D45-AD4C-C98FDED0B4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0C6295F-DD0A-E143-813F-91DC9B85EAF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2952" y="3362744"/>
            <a:ext cx="1665248" cy="1370631"/>
          </a:xfrm>
        </p:spPr>
        <p:txBody>
          <a:bodyPr anchor="t" anchorCtr="0"/>
          <a:lstStyle>
            <a:lvl1pPr marL="0" indent="0">
              <a:buNone/>
              <a:defRPr sz="7500" b="0" i="0" spc="-3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317200" y="2918534"/>
            <a:ext cx="7115448" cy="915371"/>
          </a:xfrm>
        </p:spPr>
        <p:txBody>
          <a:bodyPr anchor="t" anchorCtr="0"/>
          <a:lstStyle>
            <a:lvl1pPr marL="0" indent="0">
              <a:buNone/>
              <a:defRPr sz="37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Divider slide heading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914D09D1-5C57-8743-AC95-BCEF95051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64BBF5-8EEF-F047-9F0C-EFA08219D18C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12">
            <a:extLst>
              <a:ext uri="{FF2B5EF4-FFF2-40B4-BE49-F238E27FC236}">
                <a16:creationId xmlns:a16="http://schemas.microsoft.com/office/drawing/2014/main" id="{73222B26-5772-B847-B17D-F20A2F5EF3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AE1053E-3639-254A-8952-75CB3B85319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28608922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20;p235"/>
          <p:cNvSpPr>
            <a:spLocks noGrp="1"/>
          </p:cNvSpPr>
          <p:nvPr>
            <p:ph type="pic" idx="21"/>
          </p:nvPr>
        </p:nvSpPr>
        <p:spPr>
          <a:xfrm>
            <a:off x="5486400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2" name="Title Text"/>
          <p:cNvSpPr txBox="1">
            <a:spLocks noGrp="1"/>
          </p:cNvSpPr>
          <p:nvPr>
            <p:ph type="title"/>
          </p:nvPr>
        </p:nvSpPr>
        <p:spPr>
          <a:xfrm>
            <a:off x="603250" y="635000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3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1pPr>
            <a:lvl2pPr marL="114300" indent="2286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2pPr>
            <a:lvl3pPr marL="114300" indent="4572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3pPr>
            <a:lvl4pPr marL="114300" indent="6858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4pPr>
            <a:lvl5pPr marL="114300" indent="91440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4666224"/>
      </p:ext>
    </p:extLst>
  </p:cSld>
  <p:clrMapOvr>
    <a:masterClrMapping/>
  </p:clrMapOvr>
  <p:transition spd="med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C56019-8D4C-3F46-9548-C930EFD20A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3228" y="1939052"/>
            <a:ext cx="8579469" cy="3145107"/>
          </a:xfrm>
        </p:spPr>
        <p:txBody>
          <a:bodyPr/>
          <a:lstStyle>
            <a:lvl1pPr>
              <a:defRPr sz="1700"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>
              <a:defRPr sz="1600" b="0" i="0"/>
            </a:lvl2pPr>
            <a:lvl3pPr>
              <a:defRPr sz="1400" b="0" i="0"/>
            </a:lvl3pPr>
            <a:lvl4pPr>
              <a:defRPr sz="1400" b="0" i="0"/>
            </a:lvl4pPr>
            <a:lvl5pPr>
              <a:defRPr sz="1400"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139F2B6-C703-A744-B97D-70D1A2AC93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F87BC5B-1620-E646-B6B1-076F6C067F0F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12">
            <a:extLst>
              <a:ext uri="{FF2B5EF4-FFF2-40B4-BE49-F238E27FC236}">
                <a16:creationId xmlns:a16="http://schemas.microsoft.com/office/drawing/2014/main" id="{6DA64A6B-9A58-5844-85EC-BB1B702B67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72D2A3-8E3E-1B45-BFC1-7EB89563CAC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36840771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0F3F59AE-A48D-4E4A-928B-220F720876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E19F9E-8818-EF40-83DC-DE57081E49C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553227" y="3400154"/>
            <a:ext cx="7606775" cy="1317715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defRPr sz="1700" b="0" i="0"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12731" indent="-153984">
              <a:spcBef>
                <a:spcPts val="0"/>
              </a:spcBef>
              <a:spcAft>
                <a:spcPts val="1400"/>
              </a:spcAft>
              <a:buFont typeface="System Font Regular"/>
              <a:buChar char="–"/>
              <a:tabLst/>
              <a:defRPr sz="1500" b="0" i="0"/>
            </a:lvl2pPr>
            <a:lvl3pPr marL="461951" indent="-149222"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100" b="0" i="0"/>
            </a:lvl3pPr>
            <a:lvl4pPr>
              <a:spcBef>
                <a:spcPts val="0"/>
              </a:spcBef>
              <a:spcAft>
                <a:spcPts val="900"/>
              </a:spcAft>
              <a:defRPr sz="1400"/>
            </a:lvl4pPr>
            <a:lvl5pPr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Bullet point text line 1 17pt</a:t>
            </a:r>
          </a:p>
          <a:p>
            <a:pPr lvl="1"/>
            <a:r>
              <a:rPr lang="en-GB"/>
              <a:t>Bullet point text line 2 15pt</a:t>
            </a:r>
          </a:p>
          <a:p>
            <a:pPr lvl="2"/>
            <a:r>
              <a:rPr lang="en-GB"/>
              <a:t>Bullet point text line 3 11p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EC43BCF-78B2-4742-8CEF-C78E2530819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3226" y="1937583"/>
            <a:ext cx="7606775" cy="1181305"/>
          </a:xfrm>
        </p:spPr>
        <p:txBody>
          <a:bodyPr anchor="t" anchorCtr="0"/>
          <a:lstStyle>
            <a:lvl1pPr marL="0" indent="0">
              <a:buNone/>
              <a:defRPr lang="en-GB" sz="17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1FD3FD7-524A-4240-AB5F-EA2292097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D985F63-7E58-2942-A9AD-3CAA4ADED6E5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12">
            <a:extLst>
              <a:ext uri="{FF2B5EF4-FFF2-40B4-BE49-F238E27FC236}">
                <a16:creationId xmlns:a16="http://schemas.microsoft.com/office/drawing/2014/main" id="{6D0736BF-C7CF-5148-B0A2-3E74238DF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16B7035-F4D9-7544-89EA-6C2317B2DC6D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388088058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B5CACB0-CBD6-D840-8A4D-275C9E9217A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05541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236A3B-86E1-2142-949F-424130F754C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05541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376A5C8-D976-FF48-A3A0-5CB80C25D55A}"/>
              </a:ext>
            </a:extLst>
          </p:cNvPr>
          <p:cNvCxnSpPr>
            <a:cxnSpLocks/>
          </p:cNvCxnSpPr>
          <p:nvPr userDrawn="1"/>
        </p:nvCxnSpPr>
        <p:spPr>
          <a:xfrm>
            <a:off x="510485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EF40355-C932-DD4C-B1CC-10320F831BB3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14933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2F1B37B-9E55-F547-9B29-EE91D1718B5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414933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85B44C-6531-EC43-84C4-CBC93FA419F5}"/>
              </a:ext>
            </a:extLst>
          </p:cNvPr>
          <p:cNvCxnSpPr>
            <a:cxnSpLocks/>
          </p:cNvCxnSpPr>
          <p:nvPr userDrawn="1"/>
        </p:nvCxnSpPr>
        <p:spPr>
          <a:xfrm>
            <a:off x="4419877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84EAE2E-BFDA-424F-BE4A-A4FEECF6020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304445" y="1446523"/>
            <a:ext cx="3378485" cy="293027"/>
          </a:xfrm>
        </p:spPr>
        <p:txBody>
          <a:bodyPr anchor="t" anchorCtr="0"/>
          <a:lstStyle>
            <a:lvl1pPr marL="0" indent="0">
              <a:buNone/>
              <a:defRPr lang="en-GB" sz="1100" b="1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Pie chart heading</a:t>
            </a:r>
          </a:p>
          <a:p>
            <a:pPr lvl="0"/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6872699-341C-0640-BF6C-C886194CB16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304445" y="1651556"/>
            <a:ext cx="3378485" cy="838659"/>
          </a:xfrm>
        </p:spPr>
        <p:txBody>
          <a:bodyPr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lang="en-GB" sz="11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,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 in placeholder.</a:t>
            </a:r>
          </a:p>
          <a:p>
            <a:pPr lvl="0"/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95CAB4-3967-7C41-B6B7-F087BE9E3710}"/>
              </a:ext>
            </a:extLst>
          </p:cNvPr>
          <p:cNvCxnSpPr>
            <a:cxnSpLocks/>
          </p:cNvCxnSpPr>
          <p:nvPr userDrawn="1"/>
        </p:nvCxnSpPr>
        <p:spPr>
          <a:xfrm>
            <a:off x="8309389" y="1393324"/>
            <a:ext cx="338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0AB920E-B1F9-804B-A4E6-D58ED15384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Footer Placeholder 12">
            <a:extLst>
              <a:ext uri="{FF2B5EF4-FFF2-40B4-BE49-F238E27FC236}">
                <a16:creationId xmlns:a16="http://schemas.microsoft.com/office/drawing/2014/main" id="{D3B137F4-9350-B84A-8C77-33CB55DC8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908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EBC72A-BBD8-534D-9A82-A3C5C9014A1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05538" y="772636"/>
            <a:ext cx="11171027" cy="458331"/>
          </a:xfrm>
        </p:spPr>
        <p:txBody>
          <a:bodyPr anchor="t" anchorCtr="0"/>
          <a:lstStyle>
            <a:lvl1pPr marL="0" indent="0">
              <a:buNone/>
              <a:defRPr lang="en-GB" sz="1900" b="0" i="0" kern="1200" dirty="0" smtClean="0">
                <a:solidFill>
                  <a:srgbClr val="57577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Subheading placeholder example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298CCB0-62FB-E144-8C8D-1CB1F29DF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tx2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2">
            <a:extLst>
              <a:ext uri="{FF2B5EF4-FFF2-40B4-BE49-F238E27FC236}">
                <a16:creationId xmlns:a16="http://schemas.microsoft.com/office/drawing/2014/main" id="{A8406112-9615-464E-8198-D3B325531D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95986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FF88690-6E3C-EB41-A03C-00A19BBF63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46B36B9-3E36-814B-AA8F-76476CA4F93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547103" y="1941688"/>
            <a:ext cx="7115448" cy="2140953"/>
          </a:xfrm>
        </p:spPr>
        <p:txBody>
          <a:bodyPr anchor="t" anchorCtr="0"/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"Quote or large statement lorem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sit </a:t>
            </a:r>
            <a:r>
              <a:rPr lang="en-GB" err="1"/>
              <a:t>adipiscing</a:t>
            </a:r>
            <a:r>
              <a:rPr lang="en-GB"/>
              <a:t> </a:t>
            </a:r>
          </a:p>
          <a:p>
            <a:pPr lvl="0"/>
            <a:r>
              <a:rPr lang="en-GB"/>
              <a:t>set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semper."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C4A5220-3042-AE40-AF5B-EA66A5C90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538" y="413580"/>
            <a:ext cx="11171027" cy="4583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F5F6F09-3FEA-044B-8142-E13E21B68ED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734300" y="4173534"/>
            <a:ext cx="7115448" cy="306565"/>
          </a:xfrm>
        </p:spPr>
        <p:txBody>
          <a:bodyPr anchor="t" anchorCtr="0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63981E-0ED7-724C-8E39-62D9E5AFA23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734302" y="4405010"/>
            <a:ext cx="7123915" cy="306565"/>
          </a:xfrm>
        </p:spPr>
        <p:txBody>
          <a:bodyPr anchor="t" anchorCtr="0"/>
          <a:lstStyle>
            <a:lvl1pPr marL="0" indent="0">
              <a:buNone/>
              <a:defRPr sz="11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GB"/>
              <a:t>Job title, Location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EBC9199-E95B-E84B-BDC6-2E1AD00734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9877" y="6460691"/>
            <a:ext cx="436517" cy="219689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600" b="0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fld id="{D7CC67F0-3DF0-BA46-A460-B6C3F2EA88A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EFD150-EA0C-8A4B-ACD9-757259FB8938}"/>
              </a:ext>
            </a:extLst>
          </p:cNvPr>
          <p:cNvCxnSpPr>
            <a:cxnSpLocks/>
          </p:cNvCxnSpPr>
          <p:nvPr userDrawn="1"/>
        </p:nvCxnSpPr>
        <p:spPr>
          <a:xfrm>
            <a:off x="510495" y="6467977"/>
            <a:ext cx="1117102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2">
            <a:extLst>
              <a:ext uri="{FF2B5EF4-FFF2-40B4-BE49-F238E27FC236}">
                <a16:creationId xmlns:a16="http://schemas.microsoft.com/office/drawing/2014/main" id="{62319A0F-928D-BF4B-8BBB-31D144089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4743" y="6452223"/>
            <a:ext cx="2074609" cy="219691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lang="en-US" sz="600" b="0" i="0" kern="120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04091D-0790-BC4B-BCBB-3B67CE5613A3}"/>
              </a:ext>
            </a:extLst>
          </p:cNvPr>
          <p:cNvSpPr txBox="1"/>
          <p:nvPr userDrawn="1"/>
        </p:nvSpPr>
        <p:spPr>
          <a:xfrm>
            <a:off x="514006" y="6452221"/>
            <a:ext cx="175749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SANOFI GENERAL MEDICINES  |</a:t>
            </a:r>
          </a:p>
        </p:txBody>
      </p:sp>
    </p:spTree>
    <p:extLst>
      <p:ext uri="{BB962C8B-B14F-4D97-AF65-F5344CB8AC3E}">
        <p14:creationId xmlns:p14="http://schemas.microsoft.com/office/powerpoint/2010/main" val="43250118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19F9588-B72A-5843-B0DA-063E34501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-1"/>
            <a:ext cx="12192003" cy="68580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15770E-FCCD-2F4E-B322-0BB7556E3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525010"/>
            <a:ext cx="12192001" cy="380798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620ECD4-D780-9A4B-B7C8-864E3194F493}"/>
              </a:ext>
            </a:extLst>
          </p:cNvPr>
          <p:cNvSpPr txBox="1"/>
          <p:nvPr userDrawn="1"/>
        </p:nvSpPr>
        <p:spPr>
          <a:xfrm>
            <a:off x="3544699" y="2818531"/>
            <a:ext cx="5214295" cy="12581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5700" b="1" i="0">
                <a:solidFill>
                  <a:schemeClr val="bg1"/>
                </a:solidFill>
                <a:latin typeface="Arial" panose="020B0604020202020204" pitchFamily="34" charset="0"/>
                <a:ea typeface="Noto Sans" panose="020B0502040504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0136706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777410"/>
            <a:ext cx="11226801" cy="4483693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9" y="950401"/>
            <a:ext cx="112268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478367" y="860504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993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1"/>
            <a:ext cx="11225167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478369" y="1653119"/>
            <a:ext cx="11226801" cy="4428067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611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21911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42" progId="TCLayout.ActiveDocument.1">
                  <p:embed/>
                </p:oleObj>
              </mc:Choice>
              <mc:Fallback>
                <p:oleObj name="think-cell Slide" r:id="rId3" imgW="530" imgH="54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1373" y="188643"/>
            <a:ext cx="11425269" cy="7780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2289" y="6023296"/>
            <a:ext cx="10367433" cy="2374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7799CEF-DACC-4949-921D-05A535D50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9995" y="6502680"/>
            <a:ext cx="414748" cy="9233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 defTabSz="514337"/>
            <a:fld id="{980E94A8-0648-D043-B8F7-3AFA110B04BE}" type="slidenum">
              <a:rPr lang="en-US" smtClean="0">
                <a:solidFill>
                  <a:srgbClr val="6B747B"/>
                </a:solidFill>
              </a:rPr>
              <a:pPr defTabSz="514337"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11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2FA24B-C72E-41F1-85D9-0E5E96547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7" name="Connecteur droit 29">
            <a:extLst>
              <a:ext uri="{FF2B5EF4-FFF2-40B4-BE49-F238E27FC236}">
                <a16:creationId xmlns:a16="http://schemas.microsoft.com/office/drawing/2014/main" id="{D67FDD2A-EF40-4DF1-89C7-55710F26FF60}"/>
              </a:ext>
            </a:extLst>
          </p:cNvPr>
          <p:cNvCxnSpPr/>
          <p:nvPr userDrawn="1"/>
        </p:nvCxnSpPr>
        <p:spPr>
          <a:xfrm>
            <a:off x="11434233" y="6460144"/>
            <a:ext cx="0" cy="135467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10">
            <a:extLst>
              <a:ext uri="{FF2B5EF4-FFF2-40B4-BE49-F238E27FC236}">
                <a16:creationId xmlns:a16="http://schemas.microsoft.com/office/drawing/2014/main" id="{17A24DA0-4C0C-4FB4-A319-AAE4801C4F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114" y="6207023"/>
            <a:ext cx="1519187" cy="58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2538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758103"/>
      </p:ext>
    </p:extLst>
  </p:cSld>
  <p:clrMapOvr>
    <a:masterClrMapping/>
  </p:clrMapOvr>
  <p:transition spd="med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901EB-D952-4120-AC02-3EF7FF6D8747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50279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01ED6-201C-4343-9CCD-24EA339145AA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5242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E25FD-1483-4D6E-A64F-A0E7C8C248C8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76501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CCC09-CBFE-4FC5-BF5D-25A797B126CE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1252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B9988D-DA2F-473F-98AB-5B4D59F17BDF}" type="datetime1">
              <a:rPr lang="en-US" smtClean="0"/>
              <a:t>5/1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97219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B750E-0145-48EE-834E-88C3A8337573}" type="datetime1">
              <a:rPr lang="en-US" smtClean="0"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10114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33C26-A6B9-472A-A7ED-04DA4083C0F3}" type="datetime1">
              <a:rPr lang="en-US" smtClean="0"/>
              <a:t>5/1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63078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197F8-9B1F-481C-9FFD-2C51E60FFCA9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09449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CF938-0656-4E2A-9EAC-755FAB1BA4E6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01889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17E22-69BA-48A5-9845-DAE0A679D7AC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50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Text"/>
          <p:cNvSpPr txBox="1">
            <a:spLocks noGrp="1"/>
          </p:cNvSpPr>
          <p:nvPr>
            <p:ph type="title"/>
          </p:nvPr>
        </p:nvSpPr>
        <p:spPr>
          <a:xfrm>
            <a:off x="603248" y="2266950"/>
            <a:ext cx="10985503" cy="2324100"/>
          </a:xfrm>
          <a:prstGeom prst="rect">
            <a:avLst/>
          </a:prstGeom>
        </p:spPr>
        <p:txBody>
          <a:bodyPr anchor="ctr"/>
          <a:lstStyle>
            <a:lvl1pPr>
              <a:defRPr sz="5800" b="0"/>
            </a:lvl1pPr>
          </a:lstStyle>
          <a:p>
            <a:r>
              <a:t>Title Text</a:t>
            </a:r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1687066"/>
      </p:ext>
    </p:extLst>
  </p:cSld>
  <p:clrMapOvr>
    <a:masterClrMapping/>
  </p:clrMapOvr>
  <p:transition spd="med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E2382-6919-45F2-8992-22F6B06FE37D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07650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vocados and limes"/>
          <p:cNvSpPr>
            <a:spLocks noGrp="1"/>
          </p:cNvSpPr>
          <p:nvPr>
            <p:ph type="pic" idx="21"/>
          </p:nvPr>
        </p:nvSpPr>
        <p:spPr>
          <a:xfrm>
            <a:off x="-577850" y="-647700"/>
            <a:ext cx="13373100" cy="800946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3562350"/>
            <a:ext cx="10985500" cy="2324100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23" name="Author and Date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603845" y="553069"/>
            <a:ext cx="10984311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hor and Date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5804955"/>
            <a:ext cx="10985500" cy="558476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792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owl with salmon cakes, salad, and hummus"/>
          <p:cNvSpPr>
            <a:spLocks noGrp="1"/>
          </p:cNvSpPr>
          <p:nvPr>
            <p:ph type="pic" idx="21"/>
          </p:nvPr>
        </p:nvSpPr>
        <p:spPr>
          <a:xfrm>
            <a:off x="5486400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635000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923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454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ec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b="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Section Title</a:t>
            </a:r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8825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858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483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460422"/>
            <a:ext cx="10985500" cy="193715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Statemen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40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Fact informa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Fact information</a:t>
            </a:r>
          </a:p>
        </p:txBody>
      </p:sp>
      <p:sp>
        <p:nvSpPr>
          <p:cNvPr id="1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232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Bowl of salad with fried rice, boiled eggs, and chopsticks"/>
          <p:cNvSpPr>
            <a:spLocks noGrp="1"/>
          </p:cNvSpPr>
          <p:nvPr>
            <p:ph type="pic" sz="quarter" idx="21"/>
          </p:nvPr>
        </p:nvSpPr>
        <p:spPr>
          <a:xfrm>
            <a:off x="7880350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5" name="Bowl with salmon cakes, salad, and hummus "/>
          <p:cNvSpPr>
            <a:spLocks noGrp="1"/>
          </p:cNvSpPr>
          <p:nvPr>
            <p:ph type="pic" sz="half" idx="22"/>
          </p:nvPr>
        </p:nvSpPr>
        <p:spPr>
          <a:xfrm>
            <a:off x="6750050" y="1989138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6" name="Bowl of pappardelle pasta with parsley butter, roasted hazelnuts, and shaved parmesan cheese"/>
          <p:cNvSpPr>
            <a:spLocks noGrp="1"/>
          </p:cNvSpPr>
          <p:nvPr>
            <p:ph type="pic" idx="23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772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3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3250" y="1186481"/>
            <a:ext cx="10985500" cy="46739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750" b="1"/>
            </a:lvl1pPr>
            <a:lvl2pPr marL="4841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2pPr>
            <a:lvl3pPr marL="7127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3pPr>
            <a:lvl4pPr marL="9413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4pPr>
            <a:lvl5pPr marL="1169920" indent="-211515">
              <a:lnSpc>
                <a:spcPct val="100000"/>
              </a:lnSpc>
              <a:spcBef>
                <a:spcPts val="0"/>
              </a:spcBef>
              <a:buClrTx/>
              <a:buSzPts val="5500"/>
              <a:buFontTx/>
              <a:defRPr sz="275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7471978"/>
      </p:ext>
    </p:extLst>
  </p:cSld>
  <p:clrMapOvr>
    <a:masterClrMapping/>
  </p:clrMapOvr>
  <p:transition spd="med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91439" tIns="91439" rIns="91439" bIns="91439" anchor="ctr"/>
          <a:lstStyle>
            <a:lvl1pPr defTabSz="914400">
              <a:lnSpc>
                <a:spcPct val="90000"/>
              </a:lnSpc>
              <a:defRPr sz="4400" b="0" spc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0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91439" tIns="91439" rIns="91439" bIns="91439"/>
          <a:lstStyle>
            <a:lvl1pPr marL="228600" indent="-228600" defTabSz="914400">
              <a:spcBef>
                <a:spcPts val="1000"/>
              </a:spcBef>
              <a:buSzPct val="1000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95300" indent="-266700" defTabSz="914400">
              <a:spcBef>
                <a:spcPts val="1000"/>
              </a:spcBef>
              <a:buSzPct val="1000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77240" indent="-320040" defTabSz="914400">
              <a:spcBef>
                <a:spcPts val="1000"/>
              </a:spcBef>
              <a:buSzPct val="1000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 defTabSz="914400">
              <a:spcBef>
                <a:spcPts val="1000"/>
              </a:spcBef>
              <a:buSzPct val="1000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 defTabSz="914400">
              <a:spcBef>
                <a:spcPts val="1000"/>
              </a:spcBef>
              <a:buSzPct val="1000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986393" y="6354248"/>
            <a:ext cx="367407" cy="369330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914400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41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9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02075196-333D-46FF-BC3B-F5E381E6AF5B}" type="datetime1">
              <a:rPr lang="en-US" smtClean="0"/>
              <a:t>5/18/2023</a:t>
            </a:fld>
            <a:endParaRPr/>
          </a:p>
        </p:txBody>
      </p:sp>
      <p:sp>
        <p:nvSpPr>
          <p:cNvPr id="258" name="Google Shape;258;p9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9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139BFF73-6A57-F84A-80E8-5CB134AC7A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7736" y="-8129"/>
            <a:ext cx="4114265" cy="263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3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81BD2-7CE5-4459-8C25-929BED6BC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6657B-6C15-EEA4-D632-B800CBE6A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FF6FC0-A9A5-346C-F775-BE226CD09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E390-F79E-44EC-B274-37BC38E73B9B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599B37-75BC-DF19-9F0D-793F31434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09797-AFD4-E492-5E74-AB2033CB0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681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03250" y="2460422"/>
            <a:ext cx="10985500" cy="1937157"/>
          </a:xfrm>
          <a:prstGeom prst="rect">
            <a:avLst/>
          </a:prstGeom>
        </p:spPr>
        <p:txBody>
          <a:bodyPr anchor="ctr"/>
          <a:lstStyle>
            <a:lvl1pPr marL="114300" indent="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1pPr>
            <a:lvl2pPr marL="114300" indent="2286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2pPr>
            <a:lvl3pPr marL="114300" indent="4572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3pPr>
            <a:lvl4pPr marL="114300" indent="6858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4pPr>
            <a:lvl5pPr marL="114300" indent="914400" algn="ct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5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879176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38;p240"/>
          <p:cNvSpPr>
            <a:spLocks noGrp="1"/>
          </p:cNvSpPr>
          <p:nvPr>
            <p:ph type="pic" sz="quarter" idx="21"/>
          </p:nvPr>
        </p:nvSpPr>
        <p:spPr>
          <a:xfrm>
            <a:off x="7880350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5" name="Google Shape;39;p240"/>
          <p:cNvSpPr>
            <a:spLocks noGrp="1"/>
          </p:cNvSpPr>
          <p:nvPr>
            <p:ph type="pic" sz="half" idx="22"/>
          </p:nvPr>
        </p:nvSpPr>
        <p:spPr>
          <a:xfrm>
            <a:off x="6750050" y="1989138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6" name="Google Shape;40;p240"/>
          <p:cNvSpPr>
            <a:spLocks noGrp="1"/>
          </p:cNvSpPr>
          <p:nvPr>
            <p:ph type="pic" idx="23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4826800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420024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91424" tIns="91424" rIns="91424" bIns="91424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2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91424" tIns="91424" rIns="91424" bIns="91424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986423" y="6354263"/>
            <a:ext cx="367377" cy="369300"/>
          </a:xfrm>
          <a:prstGeom prst="rect">
            <a:avLst/>
          </a:prstGeom>
        </p:spPr>
        <p:txBody>
          <a:bodyPr lIns="91424" tIns="91424" rIns="91424" bIns="91424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953109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Google Shape;52;p243" descr="Google Shape;52;p2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7736" y="-8129"/>
            <a:ext cx="4114266" cy="2635582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20444" y="6423518"/>
            <a:ext cx="233356" cy="230790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/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968073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2661340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3942863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BJEC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25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1064846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_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1034502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_OBJEC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4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4" name="Google Shape;84;p210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89784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95B49-BD5C-ED25-6741-E9ADD94CC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8E83A0-895D-1BC8-80D3-3A0C37B18A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C8777E-15FC-AA6D-3DF4-1D91DFDE5F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0AFB99-1383-0330-236A-AF871C45B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38EA4-8171-479A-88BF-23ED2E2D3926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0274DA-A3B8-0D06-B2AA-DEDF21347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9670FD-27BC-DF42-90FB-7E4142DBF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2225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_OBJECTS_WITH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5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4" name="Google Shape;91;p211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5" name="Google Shape;92;p211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6" name="Google Shape;93;p211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3522031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5315116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BJECT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4" name="Google Shape;105;p213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7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9605582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_WITH_CAPTION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3" name="Google Shape;111;p214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384405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93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6600572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_TITLE_AND_VERTICAL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02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7627775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Title Text"/>
          <p:cNvSpPr txBox="1">
            <a:spLocks noGrp="1"/>
          </p:cNvSpPr>
          <p:nvPr>
            <p:ph type="title"/>
          </p:nvPr>
        </p:nvSpPr>
        <p:spPr>
          <a:xfrm>
            <a:off x="488953" y="117925"/>
            <a:ext cx="11214101" cy="69398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90000"/>
              </a:lnSpc>
              <a:defRPr sz="2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8504026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131;p218" descr="Google Shape;131;p2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9" name="Google Shape;132;p218" descr="Google Shape;132;p2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220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2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22" name="Google Shape;135;p218" descr="Google Shape;135;p2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2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9227014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" name="Google Shape;137;p219" descr="Google Shape;137;p2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31" name="Google Shape;138;p219" descr="Google Shape;138;p2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232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3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34" name="Google Shape;141;p219" descr="Google Shape;141;p2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2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988901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2" name="Google Shape;143;p220" descr="Google Shape;143;p2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43" name="Google Shape;144;p220" descr="Google Shape;144;p2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244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46" name="Google Shape;147;p220" descr="Google Shape;147;p2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2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044496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4C63F-F6AA-6469-73C5-64782D9E91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528FD-9B14-1273-FE0C-688C97C7F9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7B2496-A777-B7EA-24E3-779CD8AF4E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4972D2-C90F-B94B-CAE6-0C1BD7C38D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A141C5-26AA-7D85-6F5A-6AC3E0A9CA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E51915-83F3-FCAF-BD2D-5D838658B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E4690A-4241-4A1C-87DC-95186E9905EB}" type="datetime1">
              <a:rPr lang="en-US" smtClean="0"/>
              <a:t>5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5F893-F8A9-F575-AD21-17563ABCC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4A4B52-95E1-1648-9C67-D28DD1675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7951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Google Shape;149;p221" descr="Google Shape;149;p2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55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5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7" name="Google Shape;152;p221"/>
          <p:cNvSpPr txBox="1">
            <a:spLocks noGrp="1"/>
          </p:cNvSpPr>
          <p:nvPr>
            <p:ph type="body" sz="quarter" idx="21"/>
          </p:nvPr>
        </p:nvSpPr>
        <p:spPr>
          <a:xfrm>
            <a:off x="6079527" y="1396907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58" name="Google Shape;153;p221"/>
          <p:cNvSpPr txBox="1">
            <a:spLocks noGrp="1"/>
          </p:cNvSpPr>
          <p:nvPr>
            <p:ph type="body" sz="quarter" idx="22"/>
          </p:nvPr>
        </p:nvSpPr>
        <p:spPr>
          <a:xfrm>
            <a:off x="7112803" y="155454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59" name="Google Shape;154;p221"/>
          <p:cNvSpPr txBox="1">
            <a:spLocks noGrp="1"/>
          </p:cNvSpPr>
          <p:nvPr>
            <p:ph type="body" sz="quarter" idx="23"/>
          </p:nvPr>
        </p:nvSpPr>
        <p:spPr>
          <a:xfrm>
            <a:off x="6079527" y="2411691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0" name="Google Shape;155;p221"/>
          <p:cNvSpPr txBox="1">
            <a:spLocks noGrp="1"/>
          </p:cNvSpPr>
          <p:nvPr>
            <p:ph type="body" sz="quarter" idx="24"/>
          </p:nvPr>
        </p:nvSpPr>
        <p:spPr>
          <a:xfrm>
            <a:off x="7112803" y="2569332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1" name="Google Shape;156;p221"/>
          <p:cNvSpPr txBox="1">
            <a:spLocks noGrp="1"/>
          </p:cNvSpPr>
          <p:nvPr>
            <p:ph type="body" sz="quarter" idx="25"/>
          </p:nvPr>
        </p:nvSpPr>
        <p:spPr>
          <a:xfrm>
            <a:off x="6079527" y="3433774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2" name="Google Shape;157;p221"/>
          <p:cNvSpPr txBox="1">
            <a:spLocks noGrp="1"/>
          </p:cNvSpPr>
          <p:nvPr>
            <p:ph type="body" sz="quarter" idx="26"/>
          </p:nvPr>
        </p:nvSpPr>
        <p:spPr>
          <a:xfrm>
            <a:off x="7112803" y="3591415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3" name="Google Shape;158;p221"/>
          <p:cNvSpPr txBox="1">
            <a:spLocks noGrp="1"/>
          </p:cNvSpPr>
          <p:nvPr>
            <p:ph type="body" sz="quarter" idx="27"/>
          </p:nvPr>
        </p:nvSpPr>
        <p:spPr>
          <a:xfrm>
            <a:off x="6079527" y="4448558"/>
            <a:ext cx="890669" cy="72814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4" name="Google Shape;159;p221"/>
          <p:cNvSpPr txBox="1">
            <a:spLocks noGrp="1"/>
          </p:cNvSpPr>
          <p:nvPr>
            <p:ph type="body" sz="quarter" idx="28"/>
          </p:nvPr>
        </p:nvSpPr>
        <p:spPr>
          <a:xfrm>
            <a:off x="7112803" y="4606199"/>
            <a:ext cx="4235909" cy="58355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8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65" name="Google Shape;161;p221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266" name="Google Shape;163;p221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2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42400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" name="Google Shape;165;p222" descr="Google Shape;165;p222"/>
          <p:cNvPicPr>
            <a:picLocks noChangeAspect="1"/>
          </p:cNvPicPr>
          <p:nvPr/>
        </p:nvPicPr>
        <p:blipFill>
          <a:blip r:embed="rId2"/>
          <a:srcRect l="21926" t="31200" r="33478"/>
          <a:stretch>
            <a:fillRect/>
          </a:stretch>
        </p:blipFill>
        <p:spPr>
          <a:xfrm>
            <a:off x="5080000" y="-1"/>
            <a:ext cx="7112002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275" name="Title Text"/>
          <p:cNvSpPr txBox="1">
            <a:spLocks noGrp="1"/>
          </p:cNvSpPr>
          <p:nvPr>
            <p:ph type="title"/>
          </p:nvPr>
        </p:nvSpPr>
        <p:spPr>
          <a:xfrm>
            <a:off x="505541" y="413580"/>
            <a:ext cx="4000202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7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51135"/>
            <a:ext cx="4000202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1pPr>
            <a:lvl2pPr marL="501650" indent="-31115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3pPr>
            <a:lvl4pPr marL="10414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4pPr>
            <a:lvl5pPr marL="1270000" indent="-355600">
              <a:spcBef>
                <a:spcPts val="1000"/>
              </a:spcBef>
              <a:buSzPts val="5600"/>
              <a:buFont typeface="Arial"/>
              <a:defRPr sz="28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77" name="Google Shape;168;p222" descr="Google Shape;168;p2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0" y="1451137"/>
            <a:ext cx="7112000" cy="4805622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Google Shape;169;p222"/>
          <p:cNvSpPr txBox="1">
            <a:spLocks noGrp="1"/>
          </p:cNvSpPr>
          <p:nvPr>
            <p:ph type="body" sz="quarter" idx="21"/>
          </p:nvPr>
        </p:nvSpPr>
        <p:spPr>
          <a:xfrm>
            <a:off x="5592883" y="5581176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79" name="Google Shape;170;p222"/>
          <p:cNvSpPr txBox="1">
            <a:spLocks noGrp="1"/>
          </p:cNvSpPr>
          <p:nvPr>
            <p:ph type="body" sz="quarter" idx="22"/>
          </p:nvPr>
        </p:nvSpPr>
        <p:spPr>
          <a:xfrm>
            <a:off x="5592883" y="5285761"/>
            <a:ext cx="2450453" cy="3505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80" name="Google Shape;172;p222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281" name="Google Shape;174;p222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2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9865566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9" name="Google Shape;176;p223" descr="Google Shape;176;p2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9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2952" y="3362744"/>
            <a:ext cx="1665248" cy="137063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75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1" name="Google Shape;178;p223"/>
          <p:cNvSpPr txBox="1">
            <a:spLocks noGrp="1"/>
          </p:cNvSpPr>
          <p:nvPr>
            <p:ph type="body" sz="quarter" idx="21"/>
          </p:nvPr>
        </p:nvSpPr>
        <p:spPr>
          <a:xfrm>
            <a:off x="3317200" y="2918533"/>
            <a:ext cx="7115449" cy="91537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74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292" name="Google Shape;180;p223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293" name="Google Shape;182;p223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2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0267730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1" name="Google Shape;184;p224" descr="Google Shape;184;p2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02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0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553227" y="1939052"/>
            <a:ext cx="8579470" cy="3145108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70694" indent="-229394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293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1000"/>
              </a:spcBef>
              <a:buSzPts val="3400"/>
              <a:buFont typeface="Arial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4" name="Google Shape;188;p224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05" name="Google Shape;190;p224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30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535439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3" name="Google Shape;192;p225" descr="Google Shape;192;p2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1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1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53227" y="3400153"/>
            <a:ext cx="7606776" cy="1317716"/>
          </a:xfrm>
          <a:prstGeom prst="rect">
            <a:avLst/>
          </a:prstGeom>
        </p:spPr>
        <p:txBody>
          <a:bodyPr lIns="45699" tIns="45699" rIns="45699" bIns="45699"/>
          <a:lstStyle>
            <a:lvl1pPr indent="-22225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1pPr>
            <a:lvl2pPr marL="485140" indent="-237490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2pPr>
            <a:lvl3pPr marL="786245" indent="-284595">
              <a:spcBef>
                <a:spcPts val="0"/>
              </a:spcBef>
              <a:buSzPts val="3400"/>
              <a:buFont typeface="Helvetica"/>
              <a:buChar char="–"/>
              <a:defRPr sz="1700">
                <a:latin typeface="+mn-lt"/>
                <a:ea typeface="+mn-ea"/>
                <a:cs typeface="+mn-cs"/>
                <a:sym typeface="Arial"/>
              </a:defRPr>
            </a:lvl3pPr>
            <a:lvl4pPr marL="9579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4pPr>
            <a:lvl5pPr marL="1186543" indent="-246743">
              <a:spcBef>
                <a:spcPts val="0"/>
              </a:spcBef>
              <a:buSzPts val="3400"/>
              <a:buFont typeface="Helvetica"/>
              <a:defRPr sz="1700"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6" name="Google Shape;195;p225"/>
          <p:cNvSpPr txBox="1">
            <a:spLocks noGrp="1"/>
          </p:cNvSpPr>
          <p:nvPr>
            <p:ph type="body" sz="quarter" idx="21"/>
          </p:nvPr>
        </p:nvSpPr>
        <p:spPr>
          <a:xfrm>
            <a:off x="2553225" y="1937583"/>
            <a:ext cx="7606776" cy="118130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4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17" name="Google Shape;197;p225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18" name="Google Shape;199;p225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44546A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3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7098015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41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1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8" name="Google Shape;203;p226"/>
          <p:cNvSpPr txBox="1">
            <a:spLocks noGrp="1"/>
          </p:cNvSpPr>
          <p:nvPr>
            <p:ph type="body" sz="quarter" idx="21"/>
          </p:nvPr>
        </p:nvSpPr>
        <p:spPr>
          <a:xfrm>
            <a:off x="505541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29" name="Google Shape;204;p226"/>
          <p:cNvSpPr/>
          <p:nvPr/>
        </p:nvSpPr>
        <p:spPr>
          <a:xfrm>
            <a:off x="510485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30" name="Google Shape;205;p226"/>
          <p:cNvSpPr txBox="1">
            <a:spLocks noGrp="1"/>
          </p:cNvSpPr>
          <p:nvPr>
            <p:ph type="body" sz="quarter" idx="22"/>
          </p:nvPr>
        </p:nvSpPr>
        <p:spPr>
          <a:xfrm>
            <a:off x="4414932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31" name="Google Shape;206;p226"/>
          <p:cNvSpPr txBox="1">
            <a:spLocks noGrp="1"/>
          </p:cNvSpPr>
          <p:nvPr>
            <p:ph type="body" sz="quarter" idx="23"/>
          </p:nvPr>
        </p:nvSpPr>
        <p:spPr>
          <a:xfrm>
            <a:off x="4414932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32" name="Google Shape;207;p226"/>
          <p:cNvSpPr/>
          <p:nvPr/>
        </p:nvSpPr>
        <p:spPr>
          <a:xfrm>
            <a:off x="4419877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33" name="Google Shape;208;p226"/>
          <p:cNvSpPr txBox="1">
            <a:spLocks noGrp="1"/>
          </p:cNvSpPr>
          <p:nvPr>
            <p:ph type="body" sz="quarter" idx="24"/>
          </p:nvPr>
        </p:nvSpPr>
        <p:spPr>
          <a:xfrm>
            <a:off x="8304444" y="1446522"/>
            <a:ext cx="3378485" cy="29302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34" name="Google Shape;209;p226"/>
          <p:cNvSpPr txBox="1">
            <a:spLocks noGrp="1"/>
          </p:cNvSpPr>
          <p:nvPr>
            <p:ph type="body" sz="quarter" idx="25"/>
          </p:nvPr>
        </p:nvSpPr>
        <p:spPr>
          <a:xfrm>
            <a:off x="8304444" y="1651557"/>
            <a:ext cx="3378485" cy="838660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lnSpc>
                <a:spcPct val="104999"/>
              </a:lnSpc>
              <a:spcBef>
                <a:spcPts val="0"/>
              </a:spcBef>
              <a:buClrTx/>
              <a:buSzTx/>
              <a:buFontTx/>
              <a:buNone/>
              <a:defRPr sz="22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35" name="Google Shape;210;p226"/>
          <p:cNvSpPr/>
          <p:nvPr/>
        </p:nvSpPr>
        <p:spPr>
          <a:xfrm>
            <a:off x="8309389" y="1393324"/>
            <a:ext cx="3384001" cy="1"/>
          </a:xfrm>
          <a:prstGeom prst="line">
            <a:avLst/>
          </a:prstGeom>
          <a:ln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475136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5538" y="772636"/>
            <a:ext cx="11171027" cy="45833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900">
                <a:solidFill>
                  <a:srgbClr val="575771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44546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5664407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2" name="Google Shape;219;p228" descr="Google Shape;219;p2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547103" y="1941687"/>
            <a:ext cx="7115448" cy="2140954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54" name="Title Text"/>
          <p:cNvSpPr txBox="1">
            <a:spLocks noGrp="1"/>
          </p:cNvSpPr>
          <p:nvPr>
            <p:ph type="title"/>
          </p:nvPr>
        </p:nvSpPr>
        <p:spPr>
          <a:xfrm>
            <a:off x="505538" y="413580"/>
            <a:ext cx="11171027" cy="45833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55" name="Google Shape;222;p228"/>
          <p:cNvSpPr txBox="1">
            <a:spLocks noGrp="1"/>
          </p:cNvSpPr>
          <p:nvPr>
            <p:ph type="body" sz="quarter" idx="21"/>
          </p:nvPr>
        </p:nvSpPr>
        <p:spPr>
          <a:xfrm>
            <a:off x="2734300" y="4173534"/>
            <a:ext cx="7115449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 b="1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6" name="Google Shape;223;p228"/>
          <p:cNvSpPr txBox="1">
            <a:spLocks noGrp="1"/>
          </p:cNvSpPr>
          <p:nvPr>
            <p:ph type="body" sz="quarter" idx="22"/>
          </p:nvPr>
        </p:nvSpPr>
        <p:spPr>
          <a:xfrm>
            <a:off x="2734302" y="4405009"/>
            <a:ext cx="7123915" cy="306566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22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7" name="Google Shape;225;p228"/>
          <p:cNvSpPr/>
          <p:nvPr/>
        </p:nvSpPr>
        <p:spPr>
          <a:xfrm>
            <a:off x="510495" y="6467977"/>
            <a:ext cx="11171029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58" name="Google Shape;227;p228"/>
          <p:cNvSpPr txBox="1"/>
          <p:nvPr/>
        </p:nvSpPr>
        <p:spPr>
          <a:xfrm>
            <a:off x="514005" y="6475071"/>
            <a:ext cx="1757500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sz="600"/>
              <a:t>SANOFI GENERAL MEDICINES  |</a:t>
            </a:r>
          </a:p>
        </p:txBody>
      </p:sp>
      <p:sp>
        <p:nvSpPr>
          <p:cNvPr id="35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9526" y="6478224"/>
            <a:ext cx="186868" cy="184624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600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5812999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6" name="Google Shape;229;p229" descr="Google Shape;229;p2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-1"/>
            <a:ext cx="12192004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367" name="Google Shape;230;p229" descr="Google Shape;230;p2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25010"/>
            <a:ext cx="12192002" cy="3807987"/>
          </a:xfrm>
          <a:prstGeom prst="rect">
            <a:avLst/>
          </a:prstGeom>
          <a:ln w="12700">
            <a:miter lim="400000"/>
          </a:ln>
        </p:spPr>
      </p:pic>
      <p:sp>
        <p:nvSpPr>
          <p:cNvPr id="368" name="Google Shape;231;p229"/>
          <p:cNvSpPr txBox="1"/>
          <p:nvPr/>
        </p:nvSpPr>
        <p:spPr>
          <a:xfrm>
            <a:off x="3567561" y="2818530"/>
            <a:ext cx="5168571" cy="9233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>
              <a:defRPr sz="11400" b="1">
                <a:solidFill>
                  <a:srgbClr val="FFFFFF"/>
                </a:solidFill>
              </a:defRPr>
            </a:lvl1pPr>
          </a:lstStyle>
          <a:p>
            <a:r>
              <a:rPr sz="5700"/>
              <a:t>Thank you</a:t>
            </a:r>
          </a:p>
        </p:txBody>
      </p:sp>
      <p:sp>
        <p:nvSpPr>
          <p:cNvPr id="36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7196370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 1 colon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Title Text"/>
          <p:cNvSpPr txBox="1">
            <a:spLocks noGrp="1"/>
          </p:cNvSpPr>
          <p:nvPr>
            <p:ph type="title"/>
          </p:nvPr>
        </p:nvSpPr>
        <p:spPr>
          <a:xfrm>
            <a:off x="478367" y="364800"/>
            <a:ext cx="11226801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77" name="Body Level One…"/>
          <p:cNvSpPr txBox="1">
            <a:spLocks noGrp="1"/>
          </p:cNvSpPr>
          <p:nvPr>
            <p:ph type="body" idx="1"/>
          </p:nvPr>
        </p:nvSpPr>
        <p:spPr>
          <a:xfrm>
            <a:off x="478369" y="1777410"/>
            <a:ext cx="11226801" cy="4483694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8" name="Google Shape;237;p230"/>
          <p:cNvSpPr txBox="1">
            <a:spLocks noGrp="1"/>
          </p:cNvSpPr>
          <p:nvPr>
            <p:ph type="body" sz="quarter" idx="21"/>
          </p:nvPr>
        </p:nvSpPr>
        <p:spPr>
          <a:xfrm>
            <a:off x="478368" y="950401"/>
            <a:ext cx="11226802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44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79" name="Google Shape;238;p230"/>
          <p:cNvSpPr/>
          <p:nvPr/>
        </p:nvSpPr>
        <p:spPr>
          <a:xfrm>
            <a:off x="478367" y="860504"/>
            <a:ext cx="11226801" cy="1"/>
          </a:xfrm>
          <a:prstGeom prst="line">
            <a:avLst/>
          </a:prstGeom>
          <a:ln w="19050">
            <a:solidFill>
              <a:srgbClr val="44546A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38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5900653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5C665-A499-FA90-276A-ED4556073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E04337-DE0D-4915-7EAC-819A1F810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4A35F-B638-4D28-93A4-3A83456CBF89}" type="datetime1">
              <a:rPr lang="en-US" smtClean="0"/>
              <a:t>5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833639-3653-0C67-0E4A-4769372D7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694043-CF1B-A6CF-CAA7-F7EE3303A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2324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able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Title Text"/>
          <p:cNvSpPr txBox="1">
            <a:spLocks noGrp="1"/>
          </p:cNvSpPr>
          <p:nvPr>
            <p:ph type="title"/>
          </p:nvPr>
        </p:nvSpPr>
        <p:spPr>
          <a:xfrm>
            <a:off x="480002" y="364800"/>
            <a:ext cx="11225168" cy="517065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8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0002" y="950401"/>
            <a:ext cx="11225168" cy="465509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2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8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5018492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N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Title Text"/>
          <p:cNvSpPr txBox="1">
            <a:spLocks noGrp="1"/>
          </p:cNvSpPr>
          <p:nvPr>
            <p:ph type="title"/>
          </p:nvPr>
        </p:nvSpPr>
        <p:spPr>
          <a:xfrm>
            <a:off x="431373" y="188642"/>
            <a:ext cx="11425270" cy="778100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9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2288" y="6023296"/>
            <a:ext cx="10367434" cy="237492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750">
                <a:latin typeface="Calibri"/>
                <a:ea typeface="Calibri"/>
                <a:cs typeface="Calibri"/>
                <a:sym typeface="Calibri"/>
              </a:defRPr>
            </a:lvl1pPr>
            <a:lvl2pPr marL="339328" indent="-5357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2pPr>
            <a:lvl3pPr marL="578644" indent="-64294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3pPr>
            <a:lvl4pPr marL="8143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4pPr>
            <a:lvl5pPr marL="1042988" indent="-71438">
              <a:spcBef>
                <a:spcPts val="1000"/>
              </a:spcBef>
              <a:buClrTx/>
              <a:buSzPts val="1500"/>
              <a:buFontTx/>
              <a:defRPr sz="75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4977" y="6502680"/>
            <a:ext cx="89768" cy="92333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600">
                <a:solidFill>
                  <a:srgbClr val="6B747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0852865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250;p233"/>
          <p:cNvSpPr/>
          <p:nvPr/>
        </p:nvSpPr>
        <p:spPr>
          <a:xfrm>
            <a:off x="11434233" y="6460144"/>
            <a:ext cx="1" cy="135468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pic>
        <p:nvPicPr>
          <p:cNvPr id="406" name="Google Shape;251;p233" descr="Google Shape;251;p2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14" y="6207023"/>
            <a:ext cx="1519188" cy="588340"/>
          </a:xfrm>
          <a:prstGeom prst="rect">
            <a:avLst/>
          </a:prstGeom>
          <a:ln w="12700">
            <a:miter lim="400000"/>
          </a:ln>
        </p:spPr>
      </p:pic>
      <p:sp>
        <p:nvSpPr>
          <p:cNvPr id="4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3532931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15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3004965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2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4222107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3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3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0387830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4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43" name="Google Shape;279;p178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0279470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5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3" name="Google Shape;286;p179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54" name="Google Shape;287;p179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55" name="Google Shape;288;p179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294271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6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2367172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2267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1C9FCA-17C8-9883-7C87-88E7887F0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47804-90F2-422A-9774-184C29DA5411}" type="datetime1">
              <a:rPr lang="en-US" smtClean="0"/>
              <a:t>5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BC8348-34BB-C804-E693-31ADE264F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3D7A7A-809B-CAA8-F6C9-0528CC4B5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1672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7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80" name="Google Shape;304;p182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5929167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89" name="Google Shape;310;p183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9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9207448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499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8374547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08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5083463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614589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17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136470"/>
            <a:ext cx="10515600" cy="5157422"/>
          </a:xfrm>
          <a:prstGeom prst="rect">
            <a:avLst/>
          </a:prstGeom>
        </p:spPr>
        <p:txBody>
          <a:bodyPr lIns="45699" tIns="45699" rIns="45699" bIns="45699"/>
          <a:lstStyle>
            <a:lvl1pPr indent="-292100">
              <a:spcBef>
                <a:spcPts val="1000"/>
              </a:spcBef>
              <a:buClr>
                <a:srgbClr val="1E4E79"/>
              </a:buClr>
              <a:buSzPts val="5600"/>
              <a:buFont typeface="Arial"/>
              <a:defRPr sz="28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501650" indent="-311150">
              <a:spcBef>
                <a:spcPts val="1000"/>
              </a:spcBef>
              <a:buClr>
                <a:srgbClr val="1E4E79"/>
              </a:buClr>
              <a:buSzPts val="5600"/>
              <a:buFont typeface="Arial"/>
              <a:defRPr sz="28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782320" indent="-337820">
              <a:spcBef>
                <a:spcPts val="1000"/>
              </a:spcBef>
              <a:buClr>
                <a:srgbClr val="1E4E79"/>
              </a:buClr>
              <a:buSzPts val="5600"/>
              <a:buFont typeface="Arial"/>
              <a:defRPr sz="28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>
              <a:spcBef>
                <a:spcPts val="1000"/>
              </a:spcBef>
              <a:buClr>
                <a:srgbClr val="1E4E79"/>
              </a:buClr>
              <a:buSzPts val="5600"/>
              <a:buFont typeface="Arial"/>
              <a:defRPr sz="28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>
              <a:spcBef>
                <a:spcPts val="1000"/>
              </a:spcBef>
              <a:buClr>
                <a:srgbClr val="1E4E79"/>
              </a:buClr>
              <a:buSzPts val="5600"/>
              <a:buFont typeface="Arial"/>
              <a:defRPr sz="2800">
                <a:solidFill>
                  <a:srgbClr val="1E4E79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18" name="Google Shape;330;p186"/>
          <p:cNvSpPr/>
          <p:nvPr/>
        </p:nvSpPr>
        <p:spPr>
          <a:xfrm>
            <a:off x="613956" y="1031966"/>
            <a:ext cx="8294914" cy="1"/>
          </a:xfrm>
          <a:prstGeom prst="line">
            <a:avLst/>
          </a:prstGeom>
          <a:ln>
            <a:solidFill>
              <a:srgbClr val="4472C4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519" name="Google Shape;331;p186"/>
          <p:cNvSpPr/>
          <p:nvPr/>
        </p:nvSpPr>
        <p:spPr>
          <a:xfrm>
            <a:off x="613956" y="6359845"/>
            <a:ext cx="8294914" cy="1"/>
          </a:xfrm>
          <a:prstGeom prst="line">
            <a:avLst/>
          </a:prstGeom>
          <a:ln>
            <a:solidFill>
              <a:srgbClr val="4472C4"/>
            </a:solidFill>
            <a:miter/>
          </a:ln>
        </p:spPr>
        <p:txBody>
          <a:bodyPr lIns="0" tIns="0" rIns="0" bIns="0"/>
          <a:lstStyle/>
          <a:p>
            <a:endParaRPr sz="900"/>
          </a:p>
        </p:txBody>
      </p:sp>
      <p:sp>
        <p:nvSpPr>
          <p:cNvPr id="520" name="Google Shape;332;p186"/>
          <p:cNvSpPr txBox="1">
            <a:spLocks noGrp="1"/>
          </p:cNvSpPr>
          <p:nvPr>
            <p:ph type="body" sz="quarter" idx="21"/>
          </p:nvPr>
        </p:nvSpPr>
        <p:spPr>
          <a:xfrm>
            <a:off x="838200" y="6425797"/>
            <a:ext cx="7863976" cy="366891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8263600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0475834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36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7598670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Title Text"/>
          <p:cNvSpPr txBox="1">
            <a:spLocks noGrp="1"/>
          </p:cNvSpPr>
          <p:nvPr>
            <p:ph type="title"/>
          </p:nvPr>
        </p:nvSpPr>
        <p:spPr>
          <a:xfrm>
            <a:off x="914400" y="1122363"/>
            <a:ext cx="103632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665446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Title Text"/>
          <p:cNvSpPr txBox="1">
            <a:spLocks noGrp="1"/>
          </p:cNvSpPr>
          <p:nvPr>
            <p:ph type="title"/>
          </p:nvPr>
        </p:nvSpPr>
        <p:spPr>
          <a:xfrm>
            <a:off x="831850" y="1709739"/>
            <a:ext cx="10515601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5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1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3634477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6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64" name="Google Shape;364;p169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6159696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B83D9-878E-2059-08E0-026A6859A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8114D2-6CF6-F2B4-B75B-941B6E4666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87E440-8BA5-04ED-02AE-2C1359B33F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BCFD00-E32E-6396-65C0-16511296B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B28FA9-730B-4593-BE09-11D63BF7CDEC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B8EDDB-3758-63E1-C417-6264B35CF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EB0845-483B-FE41-A23C-B57FDE0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6311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Title Text"/>
          <p:cNvSpPr txBox="1">
            <a:spLocks noGrp="1"/>
          </p:cNvSpPr>
          <p:nvPr>
            <p:ph type="title"/>
          </p:nvPr>
        </p:nvSpPr>
        <p:spPr>
          <a:xfrm>
            <a:off x="839788" y="365127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90" y="1681163"/>
            <a:ext cx="5157787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74" name="Google Shape;371;p170"/>
          <p:cNvSpPr txBox="1">
            <a:spLocks noGrp="1"/>
          </p:cNvSpPr>
          <p:nvPr>
            <p:ph type="body" sz="half" idx="21"/>
          </p:nvPr>
        </p:nvSpPr>
        <p:spPr>
          <a:xfrm>
            <a:off x="839790" y="2505075"/>
            <a:ext cx="5157787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75" name="Google Shape;372;p170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9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76" name="Google Shape;373;p170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9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1486542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8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4095326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59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6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94" name="Google Shape;385;p172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5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1609913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03" name="Google Shape;391;p173"/>
          <p:cNvSpPr>
            <a:spLocks noGrp="1"/>
          </p:cNvSpPr>
          <p:nvPr>
            <p:ph type="pic" sz="half" idx="21"/>
          </p:nvPr>
        </p:nvSpPr>
        <p:spPr>
          <a:xfrm>
            <a:off x="5183187" y="987426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0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0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9764166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13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63284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22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9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7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7231460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8512955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Title Text"/>
          <p:cNvSpPr txBox="1">
            <a:spLocks noGrp="1"/>
          </p:cNvSpPr>
          <p:nvPr>
            <p:ph type="title"/>
          </p:nvPr>
        </p:nvSpPr>
        <p:spPr>
          <a:xfrm>
            <a:off x="1524000" y="1122363"/>
            <a:ext cx="9144000" cy="2387601"/>
          </a:xfrm>
          <a:prstGeom prst="rect">
            <a:avLst/>
          </a:prstGeom>
        </p:spPr>
        <p:txBody>
          <a:bodyPr lIns="45699" tIns="45699" rIns="45699" bIns="45699" anchor="b"/>
          <a:lstStyle>
            <a:lvl1pPr algn="ctr"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3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 lIns="45699" tIns="45699" rIns="45699" bIns="45699"/>
          <a:lstStyle>
            <a:lvl1pPr marL="292100" indent="-355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292100" indent="-1016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292100" indent="1524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292100" indent="3937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92100" indent="622300" algn="ctr">
              <a:spcBef>
                <a:spcPts val="1000"/>
              </a:spcBef>
              <a:buClrTx/>
              <a:buSzTx/>
              <a:buFont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3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8743997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47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4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5717490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8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60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5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618703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FE4B0-6923-3394-117C-D64E8C7FC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EAF635-B0C1-B5BA-F886-F11BD00AAC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EFE7F0-731A-AE54-89A9-3EAE2C08D3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4ACB24-E7E6-CC95-9370-05991697E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96E0B2-AC91-4D7A-9502-7590F73C66D8}" type="datetime1">
              <a:rPr lang="en-US" smtClean="0"/>
              <a:t>5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F0E679-4167-26BF-4C6C-F6475CAAB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53528C-CE9B-B0ED-A500-28AADBB68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3215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6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6" name="Google Shape;439;p77"/>
          <p:cNvSpPr txBox="1">
            <a:spLocks noGrp="1"/>
          </p:cNvSpPr>
          <p:nvPr>
            <p:ph type="body" sz="half" idx="2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9203401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4" name="Title Text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1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76" name="Google Shape;446;p78"/>
          <p:cNvSpPr txBox="1">
            <a:spLocks noGrp="1"/>
          </p:cNvSpPr>
          <p:nvPr>
            <p:ph type="body" sz="half" idx="21"/>
          </p:nvPr>
        </p:nvSpPr>
        <p:spPr>
          <a:xfrm>
            <a:off x="839788" y="2505075"/>
            <a:ext cx="51577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77" name="Google Shape;447;p78"/>
          <p:cNvSpPr txBox="1">
            <a:spLocks noGrp="1"/>
          </p:cNvSpPr>
          <p:nvPr>
            <p:ph type="body" sz="quarter" idx="22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lIns="45699" tIns="45699" rIns="45699" bIns="45699" anchor="b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b="1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78" name="Google Shape;448;p78"/>
          <p:cNvSpPr txBox="1">
            <a:spLocks noGrp="1"/>
          </p:cNvSpPr>
          <p:nvPr>
            <p:ph type="body" sz="half" idx="23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5600">
                <a:latin typeface="Calibri"/>
                <a:cs typeface="Calibri"/>
                <a:sym typeface="Calibri"/>
              </a:defRPr>
            </a:lvl1pPr>
          </a:lstStyle>
          <a:p>
            <a:pPr indent="-342900">
              <a:spcBef>
                <a:spcPts val="2000"/>
              </a:spcBef>
              <a:buSzPts val="5600"/>
              <a:buFont typeface="Arial"/>
              <a:defRPr sz="56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7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4539456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8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3077928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69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45699" tIns="45699" rIns="45699" bIns="45699"/>
          <a:lstStyle>
            <a:lvl1pPr indent="-3175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498929" indent="-333829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774700" indent="-35560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0591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1287780" indent="-386080">
              <a:spcBef>
                <a:spcPts val="1000"/>
              </a:spcBef>
              <a:buSzPts val="6400"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96" name="Google Shape;460;p80"/>
          <p:cNvSpPr txBox="1">
            <a:spLocks noGrp="1"/>
          </p:cNvSpPr>
          <p:nvPr>
            <p:ph type="body" sz="quarter" idx="2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3200">
                <a:latin typeface="Calibri"/>
                <a:cs typeface="Calibri"/>
                <a:sym typeface="Calibri"/>
              </a:defRPr>
            </a:lvl1pPr>
          </a:lstStyle>
          <a:p>
            <a:pPr marL="228600" indent="0">
              <a:spcBef>
                <a:spcPts val="2000"/>
              </a:spcBef>
              <a:buClrTx/>
              <a:buSzTx/>
              <a:buFontTx/>
              <a:buNone/>
              <a:defRPr sz="32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9482542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Title Text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</p:spPr>
        <p:txBody>
          <a:bodyPr lIns="45699" tIns="45699" rIns="45699" bIns="45699" anchor="b"/>
          <a:lstStyle>
            <a:lvl1pPr>
              <a:lnSpc>
                <a:spcPct val="90000"/>
              </a:lnSpc>
              <a:defRPr sz="32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05" name="Google Shape;466;p81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0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spcBef>
                <a:spcPts val="1000"/>
              </a:spcBef>
              <a:buClrTx/>
              <a:buSzTx/>
              <a:buFontTx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6099409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Title Text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15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9" cy="105156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0641229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" name="Title Text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90000"/>
              </a:lnSpc>
              <a:defRPr sz="4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24" name="Body Level One…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</p:spPr>
        <p:txBody>
          <a:bodyPr lIns="45699" tIns="45699" rIns="45699" bIns="45699"/>
          <a:lstStyle>
            <a:lvl1pPr indent="-17145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485775" indent="-200025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754380" indent="-24003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0096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1238250" indent="-266700">
              <a:spcBef>
                <a:spcPts val="1000"/>
              </a:spcBef>
              <a:buSzPts val="5600"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8767" y="6400435"/>
            <a:ext cx="275033" cy="276956"/>
          </a:xfrm>
          <a:prstGeom prst="rect">
            <a:avLst/>
          </a:prstGeom>
        </p:spPr>
        <p:txBody>
          <a:bodyPr lIns="45699" tIns="45699" rIns="45699" bIns="45699" anchor="ctr"/>
          <a:lstStyle>
            <a:lvl1pPr algn="r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3414351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Title Text"/>
          <p:cNvSpPr txBox="1">
            <a:spLocks noGrp="1"/>
          </p:cNvSpPr>
          <p:nvPr>
            <p:ph type="title"/>
          </p:nvPr>
        </p:nvSpPr>
        <p:spPr>
          <a:xfrm>
            <a:off x="488953" y="117925"/>
            <a:ext cx="11214101" cy="69398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90000"/>
              </a:lnSpc>
              <a:defRPr sz="2400" b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3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4117903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0" name="Google Shape;486;p85" descr="Google Shape;486;p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41" name="Google Shape;487;p85" descr="Google Shape;487;p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742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4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744" name="Google Shape;490;p85" descr="Google Shape;490;p8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7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2150032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2" name="Google Shape;492;p86" descr="Google Shape;492;p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53" name="Google Shape;493;p86" descr="Google Shape;493;p8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3274"/>
            <a:ext cx="12192000" cy="4945182"/>
          </a:xfrm>
          <a:prstGeom prst="rect">
            <a:avLst/>
          </a:prstGeom>
          <a:ln w="12700">
            <a:miter lim="400000"/>
          </a:ln>
        </p:spPr>
      </p:pic>
      <p:sp>
        <p:nvSpPr>
          <p:cNvPr id="754" name="Title Text"/>
          <p:cNvSpPr txBox="1">
            <a:spLocks noGrp="1"/>
          </p:cNvSpPr>
          <p:nvPr>
            <p:ph type="title"/>
          </p:nvPr>
        </p:nvSpPr>
        <p:spPr>
          <a:xfrm>
            <a:off x="501925" y="2945535"/>
            <a:ext cx="5673593" cy="1431997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lnSpc>
                <a:spcPct val="85000"/>
              </a:lnSpc>
              <a:defRPr sz="3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75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01923" y="4442180"/>
            <a:ext cx="5673593" cy="823913"/>
          </a:xfrm>
          <a:prstGeom prst="rect">
            <a:avLst/>
          </a:prstGeom>
        </p:spPr>
        <p:txBody>
          <a:bodyPr lIns="45699" tIns="45699" rIns="45699" bIns="45699"/>
          <a:lstStyle>
            <a:lvl1pPr marL="114300" indent="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4300" indent="2286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" indent="4572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4300" indent="6858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4300" indent="914400">
              <a:lnSpc>
                <a:spcPct val="100000"/>
              </a:lnSpc>
              <a:spcBef>
                <a:spcPts val="1000"/>
              </a:spcBef>
              <a:buClrTx/>
              <a:buSzTx/>
              <a:buFontTx/>
              <a:buNone/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756" name="Google Shape;496;p86" descr="Google Shape;496;p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46" y="5823143"/>
            <a:ext cx="4275125" cy="308885"/>
          </a:xfrm>
          <a:prstGeom prst="rect">
            <a:avLst/>
          </a:prstGeom>
          <a:ln w="12700">
            <a:miter lim="400000"/>
          </a:ln>
        </p:spPr>
      </p:pic>
      <p:sp>
        <p:nvSpPr>
          <p:cNvPr id="7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5772" y="6115259"/>
            <a:ext cx="243656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902047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9.xml"/><Relationship Id="rId117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65.xml"/><Relationship Id="rId47" Type="http://schemas.openxmlformats.org/officeDocument/2006/relationships/slideLayout" Target="../slideLayouts/slideLayout70.xml"/><Relationship Id="rId63" Type="http://schemas.openxmlformats.org/officeDocument/2006/relationships/slideLayout" Target="../slideLayouts/slideLayout86.xml"/><Relationship Id="rId68" Type="http://schemas.openxmlformats.org/officeDocument/2006/relationships/slideLayout" Target="../slideLayouts/slideLayout91.xml"/><Relationship Id="rId84" Type="http://schemas.openxmlformats.org/officeDocument/2006/relationships/slideLayout" Target="../slideLayouts/slideLayout107.xml"/><Relationship Id="rId89" Type="http://schemas.openxmlformats.org/officeDocument/2006/relationships/slideLayout" Target="../slideLayouts/slideLayout112.xml"/><Relationship Id="rId112" Type="http://schemas.openxmlformats.org/officeDocument/2006/relationships/slideLayout" Target="../slideLayouts/slideLayout135.xml"/><Relationship Id="rId133" Type="http://schemas.openxmlformats.org/officeDocument/2006/relationships/slideLayout" Target="../slideLayouts/slideLayout156.xml"/><Relationship Id="rId138" Type="http://schemas.openxmlformats.org/officeDocument/2006/relationships/slideLayout" Target="../slideLayouts/slideLayout161.xml"/><Relationship Id="rId154" Type="http://schemas.openxmlformats.org/officeDocument/2006/relationships/slideLayout" Target="../slideLayouts/slideLayout177.xml"/><Relationship Id="rId159" Type="http://schemas.openxmlformats.org/officeDocument/2006/relationships/slideLayout" Target="../slideLayouts/slideLayout182.xml"/><Relationship Id="rId175" Type="http://schemas.openxmlformats.org/officeDocument/2006/relationships/slideLayout" Target="../slideLayouts/slideLayout198.xml"/><Relationship Id="rId170" Type="http://schemas.openxmlformats.org/officeDocument/2006/relationships/slideLayout" Target="../slideLayouts/slideLayout193.xml"/><Relationship Id="rId191" Type="http://schemas.openxmlformats.org/officeDocument/2006/relationships/theme" Target="../theme/theme3.xml"/><Relationship Id="rId16" Type="http://schemas.openxmlformats.org/officeDocument/2006/relationships/slideLayout" Target="../slideLayouts/slideLayout39.xml"/><Relationship Id="rId107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53" Type="http://schemas.openxmlformats.org/officeDocument/2006/relationships/slideLayout" Target="../slideLayouts/slideLayout76.xml"/><Relationship Id="rId58" Type="http://schemas.openxmlformats.org/officeDocument/2006/relationships/slideLayout" Target="../slideLayouts/slideLayout81.xml"/><Relationship Id="rId74" Type="http://schemas.openxmlformats.org/officeDocument/2006/relationships/slideLayout" Target="../slideLayouts/slideLayout97.xml"/><Relationship Id="rId79" Type="http://schemas.openxmlformats.org/officeDocument/2006/relationships/slideLayout" Target="../slideLayouts/slideLayout102.xml"/><Relationship Id="rId102" Type="http://schemas.openxmlformats.org/officeDocument/2006/relationships/slideLayout" Target="../slideLayouts/slideLayout125.xml"/><Relationship Id="rId123" Type="http://schemas.openxmlformats.org/officeDocument/2006/relationships/slideLayout" Target="../slideLayouts/slideLayout146.xml"/><Relationship Id="rId128" Type="http://schemas.openxmlformats.org/officeDocument/2006/relationships/slideLayout" Target="../slideLayouts/slideLayout151.xml"/><Relationship Id="rId144" Type="http://schemas.openxmlformats.org/officeDocument/2006/relationships/slideLayout" Target="../slideLayouts/slideLayout167.xml"/><Relationship Id="rId149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28.xml"/><Relationship Id="rId90" Type="http://schemas.openxmlformats.org/officeDocument/2006/relationships/slideLayout" Target="../slideLayouts/slideLayout113.xml"/><Relationship Id="rId95" Type="http://schemas.openxmlformats.org/officeDocument/2006/relationships/slideLayout" Target="../slideLayouts/slideLayout118.xml"/><Relationship Id="rId160" Type="http://schemas.openxmlformats.org/officeDocument/2006/relationships/slideLayout" Target="../slideLayouts/slideLayout183.xml"/><Relationship Id="rId165" Type="http://schemas.openxmlformats.org/officeDocument/2006/relationships/slideLayout" Target="../slideLayouts/slideLayout188.xml"/><Relationship Id="rId181" Type="http://schemas.openxmlformats.org/officeDocument/2006/relationships/slideLayout" Target="../slideLayouts/slideLayout204.xml"/><Relationship Id="rId186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66.xml"/><Relationship Id="rId48" Type="http://schemas.openxmlformats.org/officeDocument/2006/relationships/slideLayout" Target="../slideLayouts/slideLayout71.xml"/><Relationship Id="rId64" Type="http://schemas.openxmlformats.org/officeDocument/2006/relationships/slideLayout" Target="../slideLayouts/slideLayout87.xml"/><Relationship Id="rId69" Type="http://schemas.openxmlformats.org/officeDocument/2006/relationships/slideLayout" Target="../slideLayouts/slideLayout92.xml"/><Relationship Id="rId113" Type="http://schemas.openxmlformats.org/officeDocument/2006/relationships/slideLayout" Target="../slideLayouts/slideLayout136.xml"/><Relationship Id="rId118" Type="http://schemas.openxmlformats.org/officeDocument/2006/relationships/slideLayout" Target="../slideLayouts/slideLayout141.xml"/><Relationship Id="rId134" Type="http://schemas.openxmlformats.org/officeDocument/2006/relationships/slideLayout" Target="../slideLayouts/slideLayout157.xml"/><Relationship Id="rId139" Type="http://schemas.openxmlformats.org/officeDocument/2006/relationships/slideLayout" Target="../slideLayouts/slideLayout162.xml"/><Relationship Id="rId80" Type="http://schemas.openxmlformats.org/officeDocument/2006/relationships/slideLayout" Target="../slideLayouts/slideLayout103.xml"/><Relationship Id="rId85" Type="http://schemas.openxmlformats.org/officeDocument/2006/relationships/slideLayout" Target="../slideLayouts/slideLayout108.xml"/><Relationship Id="rId150" Type="http://schemas.openxmlformats.org/officeDocument/2006/relationships/slideLayout" Target="../slideLayouts/slideLayout173.xml"/><Relationship Id="rId155" Type="http://schemas.openxmlformats.org/officeDocument/2006/relationships/slideLayout" Target="../slideLayouts/slideLayout178.xml"/><Relationship Id="rId171" Type="http://schemas.openxmlformats.org/officeDocument/2006/relationships/slideLayout" Target="../slideLayouts/slideLayout194.xml"/><Relationship Id="rId176" Type="http://schemas.openxmlformats.org/officeDocument/2006/relationships/slideLayout" Target="../slideLayouts/slideLayout199.xml"/><Relationship Id="rId192" Type="http://schemas.openxmlformats.org/officeDocument/2006/relationships/image" Target="../media/image1.png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59" Type="http://schemas.openxmlformats.org/officeDocument/2006/relationships/slideLayout" Target="../slideLayouts/slideLayout82.xml"/><Relationship Id="rId103" Type="http://schemas.openxmlformats.org/officeDocument/2006/relationships/slideLayout" Target="../slideLayouts/slideLayout126.xml"/><Relationship Id="rId108" Type="http://schemas.openxmlformats.org/officeDocument/2006/relationships/slideLayout" Target="../slideLayouts/slideLayout131.xml"/><Relationship Id="rId124" Type="http://schemas.openxmlformats.org/officeDocument/2006/relationships/slideLayout" Target="../slideLayouts/slideLayout147.xml"/><Relationship Id="rId129" Type="http://schemas.openxmlformats.org/officeDocument/2006/relationships/slideLayout" Target="../slideLayouts/slideLayout152.xml"/><Relationship Id="rId54" Type="http://schemas.openxmlformats.org/officeDocument/2006/relationships/slideLayout" Target="../slideLayouts/slideLayout77.xml"/><Relationship Id="rId70" Type="http://schemas.openxmlformats.org/officeDocument/2006/relationships/slideLayout" Target="../slideLayouts/slideLayout93.xml"/><Relationship Id="rId75" Type="http://schemas.openxmlformats.org/officeDocument/2006/relationships/slideLayout" Target="../slideLayouts/slideLayout98.xml"/><Relationship Id="rId91" Type="http://schemas.openxmlformats.org/officeDocument/2006/relationships/slideLayout" Target="../slideLayouts/slideLayout114.xml"/><Relationship Id="rId96" Type="http://schemas.openxmlformats.org/officeDocument/2006/relationships/slideLayout" Target="../slideLayouts/slideLayout119.xml"/><Relationship Id="rId140" Type="http://schemas.openxmlformats.org/officeDocument/2006/relationships/slideLayout" Target="../slideLayouts/slideLayout163.xml"/><Relationship Id="rId145" Type="http://schemas.openxmlformats.org/officeDocument/2006/relationships/slideLayout" Target="../slideLayouts/slideLayout168.xml"/><Relationship Id="rId161" Type="http://schemas.openxmlformats.org/officeDocument/2006/relationships/slideLayout" Target="../slideLayouts/slideLayout184.xml"/><Relationship Id="rId166" Type="http://schemas.openxmlformats.org/officeDocument/2006/relationships/slideLayout" Target="../slideLayouts/slideLayout189.xml"/><Relationship Id="rId182" Type="http://schemas.openxmlformats.org/officeDocument/2006/relationships/slideLayout" Target="../slideLayouts/slideLayout205.xml"/><Relationship Id="rId187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72.xml"/><Relationship Id="rId114" Type="http://schemas.openxmlformats.org/officeDocument/2006/relationships/slideLayout" Target="../slideLayouts/slideLayout137.xml"/><Relationship Id="rId119" Type="http://schemas.openxmlformats.org/officeDocument/2006/relationships/slideLayout" Target="../slideLayouts/slideLayout142.xml"/><Relationship Id="rId44" Type="http://schemas.openxmlformats.org/officeDocument/2006/relationships/slideLayout" Target="../slideLayouts/slideLayout67.xml"/><Relationship Id="rId60" Type="http://schemas.openxmlformats.org/officeDocument/2006/relationships/slideLayout" Target="../slideLayouts/slideLayout83.xml"/><Relationship Id="rId65" Type="http://schemas.openxmlformats.org/officeDocument/2006/relationships/slideLayout" Target="../slideLayouts/slideLayout88.xml"/><Relationship Id="rId81" Type="http://schemas.openxmlformats.org/officeDocument/2006/relationships/slideLayout" Target="../slideLayouts/slideLayout104.xml"/><Relationship Id="rId86" Type="http://schemas.openxmlformats.org/officeDocument/2006/relationships/slideLayout" Target="../slideLayouts/slideLayout109.xml"/><Relationship Id="rId130" Type="http://schemas.openxmlformats.org/officeDocument/2006/relationships/slideLayout" Target="../slideLayouts/slideLayout153.xml"/><Relationship Id="rId135" Type="http://schemas.openxmlformats.org/officeDocument/2006/relationships/slideLayout" Target="../slideLayouts/slideLayout158.xml"/><Relationship Id="rId151" Type="http://schemas.openxmlformats.org/officeDocument/2006/relationships/slideLayout" Target="../slideLayouts/slideLayout174.xml"/><Relationship Id="rId156" Type="http://schemas.openxmlformats.org/officeDocument/2006/relationships/slideLayout" Target="../slideLayouts/slideLayout179.xml"/><Relationship Id="rId177" Type="http://schemas.openxmlformats.org/officeDocument/2006/relationships/slideLayout" Target="../slideLayouts/slideLayout200.xml"/><Relationship Id="rId172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62.xml"/><Relationship Id="rId109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57.xml"/><Relationship Id="rId50" Type="http://schemas.openxmlformats.org/officeDocument/2006/relationships/slideLayout" Target="../slideLayouts/slideLayout73.xml"/><Relationship Id="rId55" Type="http://schemas.openxmlformats.org/officeDocument/2006/relationships/slideLayout" Target="../slideLayouts/slideLayout78.xml"/><Relationship Id="rId76" Type="http://schemas.openxmlformats.org/officeDocument/2006/relationships/slideLayout" Target="../slideLayouts/slideLayout99.xml"/><Relationship Id="rId97" Type="http://schemas.openxmlformats.org/officeDocument/2006/relationships/slideLayout" Target="../slideLayouts/slideLayout120.xml"/><Relationship Id="rId104" Type="http://schemas.openxmlformats.org/officeDocument/2006/relationships/slideLayout" Target="../slideLayouts/slideLayout127.xml"/><Relationship Id="rId120" Type="http://schemas.openxmlformats.org/officeDocument/2006/relationships/slideLayout" Target="../slideLayouts/slideLayout143.xml"/><Relationship Id="rId125" Type="http://schemas.openxmlformats.org/officeDocument/2006/relationships/slideLayout" Target="../slideLayouts/slideLayout148.xml"/><Relationship Id="rId141" Type="http://schemas.openxmlformats.org/officeDocument/2006/relationships/slideLayout" Target="../slideLayouts/slideLayout164.xml"/><Relationship Id="rId146" Type="http://schemas.openxmlformats.org/officeDocument/2006/relationships/slideLayout" Target="../slideLayouts/slideLayout169.xml"/><Relationship Id="rId167" Type="http://schemas.openxmlformats.org/officeDocument/2006/relationships/slideLayout" Target="../slideLayouts/slideLayout190.xml"/><Relationship Id="rId188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30.xml"/><Relationship Id="rId71" Type="http://schemas.openxmlformats.org/officeDocument/2006/relationships/slideLayout" Target="../slideLayouts/slideLayout94.xml"/><Relationship Id="rId92" Type="http://schemas.openxmlformats.org/officeDocument/2006/relationships/slideLayout" Target="../slideLayouts/slideLayout115.xml"/><Relationship Id="rId162" Type="http://schemas.openxmlformats.org/officeDocument/2006/relationships/slideLayout" Target="../slideLayouts/slideLayout185.xml"/><Relationship Id="rId183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63.xml"/><Relationship Id="rId45" Type="http://schemas.openxmlformats.org/officeDocument/2006/relationships/slideLayout" Target="../slideLayouts/slideLayout68.xml"/><Relationship Id="rId66" Type="http://schemas.openxmlformats.org/officeDocument/2006/relationships/slideLayout" Target="../slideLayouts/slideLayout89.xml"/><Relationship Id="rId87" Type="http://schemas.openxmlformats.org/officeDocument/2006/relationships/slideLayout" Target="../slideLayouts/slideLayout110.xml"/><Relationship Id="rId110" Type="http://schemas.openxmlformats.org/officeDocument/2006/relationships/slideLayout" Target="../slideLayouts/slideLayout133.xml"/><Relationship Id="rId115" Type="http://schemas.openxmlformats.org/officeDocument/2006/relationships/slideLayout" Target="../slideLayouts/slideLayout138.xml"/><Relationship Id="rId131" Type="http://schemas.openxmlformats.org/officeDocument/2006/relationships/slideLayout" Target="../slideLayouts/slideLayout154.xml"/><Relationship Id="rId136" Type="http://schemas.openxmlformats.org/officeDocument/2006/relationships/slideLayout" Target="../slideLayouts/slideLayout159.xml"/><Relationship Id="rId157" Type="http://schemas.openxmlformats.org/officeDocument/2006/relationships/slideLayout" Target="../slideLayouts/slideLayout180.xml"/><Relationship Id="rId178" Type="http://schemas.openxmlformats.org/officeDocument/2006/relationships/slideLayout" Target="../slideLayouts/slideLayout201.xml"/><Relationship Id="rId61" Type="http://schemas.openxmlformats.org/officeDocument/2006/relationships/slideLayout" Target="../slideLayouts/slideLayout84.xml"/><Relationship Id="rId82" Type="http://schemas.openxmlformats.org/officeDocument/2006/relationships/slideLayout" Target="../slideLayouts/slideLayout105.xml"/><Relationship Id="rId152" Type="http://schemas.openxmlformats.org/officeDocument/2006/relationships/slideLayout" Target="../slideLayouts/slideLayout175.xml"/><Relationship Id="rId173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56" Type="http://schemas.openxmlformats.org/officeDocument/2006/relationships/slideLayout" Target="../slideLayouts/slideLayout79.xml"/><Relationship Id="rId77" Type="http://schemas.openxmlformats.org/officeDocument/2006/relationships/slideLayout" Target="../slideLayouts/slideLayout100.xml"/><Relationship Id="rId100" Type="http://schemas.openxmlformats.org/officeDocument/2006/relationships/slideLayout" Target="../slideLayouts/slideLayout123.xml"/><Relationship Id="rId105" Type="http://schemas.openxmlformats.org/officeDocument/2006/relationships/slideLayout" Target="../slideLayouts/slideLayout128.xml"/><Relationship Id="rId126" Type="http://schemas.openxmlformats.org/officeDocument/2006/relationships/slideLayout" Target="../slideLayouts/slideLayout149.xml"/><Relationship Id="rId147" Type="http://schemas.openxmlformats.org/officeDocument/2006/relationships/slideLayout" Target="../slideLayouts/slideLayout170.xml"/><Relationship Id="rId168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31.xml"/><Relationship Id="rId51" Type="http://schemas.openxmlformats.org/officeDocument/2006/relationships/slideLayout" Target="../slideLayouts/slideLayout74.xml"/><Relationship Id="rId72" Type="http://schemas.openxmlformats.org/officeDocument/2006/relationships/slideLayout" Target="../slideLayouts/slideLayout95.xml"/><Relationship Id="rId93" Type="http://schemas.openxmlformats.org/officeDocument/2006/relationships/slideLayout" Target="../slideLayouts/slideLayout116.xml"/><Relationship Id="rId98" Type="http://schemas.openxmlformats.org/officeDocument/2006/relationships/slideLayout" Target="../slideLayouts/slideLayout121.xml"/><Relationship Id="rId121" Type="http://schemas.openxmlformats.org/officeDocument/2006/relationships/slideLayout" Target="../slideLayouts/slideLayout144.xml"/><Relationship Id="rId142" Type="http://schemas.openxmlformats.org/officeDocument/2006/relationships/slideLayout" Target="../slideLayouts/slideLayout165.xml"/><Relationship Id="rId163" Type="http://schemas.openxmlformats.org/officeDocument/2006/relationships/slideLayout" Target="../slideLayouts/slideLayout186.xml"/><Relationship Id="rId184" Type="http://schemas.openxmlformats.org/officeDocument/2006/relationships/slideLayout" Target="../slideLayouts/slideLayout207.xml"/><Relationship Id="rId189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69.xml"/><Relationship Id="rId67" Type="http://schemas.openxmlformats.org/officeDocument/2006/relationships/slideLayout" Target="../slideLayouts/slideLayout90.xml"/><Relationship Id="rId116" Type="http://schemas.openxmlformats.org/officeDocument/2006/relationships/slideLayout" Target="../slideLayouts/slideLayout139.xml"/><Relationship Id="rId137" Type="http://schemas.openxmlformats.org/officeDocument/2006/relationships/slideLayout" Target="../slideLayouts/slideLayout160.xml"/><Relationship Id="rId158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85.xml"/><Relationship Id="rId83" Type="http://schemas.openxmlformats.org/officeDocument/2006/relationships/slideLayout" Target="../slideLayouts/slideLayout106.xml"/><Relationship Id="rId88" Type="http://schemas.openxmlformats.org/officeDocument/2006/relationships/slideLayout" Target="../slideLayouts/slideLayout111.xml"/><Relationship Id="rId111" Type="http://schemas.openxmlformats.org/officeDocument/2006/relationships/slideLayout" Target="../slideLayouts/slideLayout134.xml"/><Relationship Id="rId132" Type="http://schemas.openxmlformats.org/officeDocument/2006/relationships/slideLayout" Target="../slideLayouts/slideLayout155.xml"/><Relationship Id="rId153" Type="http://schemas.openxmlformats.org/officeDocument/2006/relationships/slideLayout" Target="../slideLayouts/slideLayout176.xml"/><Relationship Id="rId174" Type="http://schemas.openxmlformats.org/officeDocument/2006/relationships/slideLayout" Target="../slideLayouts/slideLayout197.xml"/><Relationship Id="rId179" Type="http://schemas.openxmlformats.org/officeDocument/2006/relationships/slideLayout" Target="../slideLayouts/slideLayout202.xml"/><Relationship Id="rId190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80.xml"/><Relationship Id="rId106" Type="http://schemas.openxmlformats.org/officeDocument/2006/relationships/slideLayout" Target="../slideLayouts/slideLayout129.xml"/><Relationship Id="rId127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75.xml"/><Relationship Id="rId73" Type="http://schemas.openxmlformats.org/officeDocument/2006/relationships/slideLayout" Target="../slideLayouts/slideLayout96.xml"/><Relationship Id="rId78" Type="http://schemas.openxmlformats.org/officeDocument/2006/relationships/slideLayout" Target="../slideLayouts/slideLayout101.xml"/><Relationship Id="rId94" Type="http://schemas.openxmlformats.org/officeDocument/2006/relationships/slideLayout" Target="../slideLayouts/slideLayout117.xml"/><Relationship Id="rId99" Type="http://schemas.openxmlformats.org/officeDocument/2006/relationships/slideLayout" Target="../slideLayouts/slideLayout122.xml"/><Relationship Id="rId101" Type="http://schemas.openxmlformats.org/officeDocument/2006/relationships/slideLayout" Target="../slideLayouts/slideLayout124.xml"/><Relationship Id="rId122" Type="http://schemas.openxmlformats.org/officeDocument/2006/relationships/slideLayout" Target="../slideLayouts/slideLayout145.xml"/><Relationship Id="rId143" Type="http://schemas.openxmlformats.org/officeDocument/2006/relationships/slideLayout" Target="../slideLayouts/slideLayout166.xml"/><Relationship Id="rId148" Type="http://schemas.openxmlformats.org/officeDocument/2006/relationships/slideLayout" Target="../slideLayouts/slideLayout171.xml"/><Relationship Id="rId164" Type="http://schemas.openxmlformats.org/officeDocument/2006/relationships/slideLayout" Target="../slideLayouts/slideLayout187.xml"/><Relationship Id="rId169" Type="http://schemas.openxmlformats.org/officeDocument/2006/relationships/slideLayout" Target="../slideLayouts/slideLayout192.xml"/><Relationship Id="rId185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80" Type="http://schemas.openxmlformats.org/officeDocument/2006/relationships/slideLayout" Target="../slideLayouts/slideLayout20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16.xml"/><Relationship Id="rId21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image" Target="../media/image2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85.xml"/><Relationship Id="rId10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6FACD0-609A-33A3-5EE9-244F63945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16CCEB-DDDD-8E73-7D6B-073E49B591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EDEAF1-899D-09E4-4200-24E03897E7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81CC5C-2F79-447F-BFEA-F5647827FD5A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026AEF-4965-8705-51B0-9C277C009B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04068E-7660-4D1D-E4FE-4F49702F1D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11C7FE-DD43-4287-B358-47B2BAD49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21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stomShape 1"/>
          <p:cNvSpPr/>
          <p:nvPr/>
        </p:nvSpPr>
        <p:spPr>
          <a:xfrm>
            <a:off x="0" y="0"/>
            <a:ext cx="192000" cy="6858000"/>
          </a:xfrm>
          <a:prstGeom prst="rect">
            <a:avLst/>
          </a:prstGeom>
          <a:solidFill>
            <a:srgbClr val="0054A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" name="CustomShape 2"/>
          <p:cNvSpPr/>
          <p:nvPr/>
        </p:nvSpPr>
        <p:spPr>
          <a:xfrm>
            <a:off x="0" y="0"/>
            <a:ext cx="192000" cy="1198440"/>
          </a:xfrm>
          <a:prstGeom prst="rect">
            <a:avLst/>
          </a:prstGeom>
          <a:solidFill>
            <a:srgbClr val="FFCE3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3678225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9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ody Level One…"/>
          <p:cNvSpPr txBox="1">
            <a:spLocks noGrp="1"/>
          </p:cNvSpPr>
          <p:nvPr>
            <p:ph type="body" idx="1"/>
          </p:nvPr>
        </p:nvSpPr>
        <p:spPr>
          <a:xfrm>
            <a:off x="603250" y="2124252"/>
            <a:ext cx="10985500" cy="4128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849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6708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>
              <a:defRPr sz="9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4330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10" r:id="rId36"/>
    <p:sldLayoutId id="2147483711" r:id="rId37"/>
    <p:sldLayoutId id="2147483712" r:id="rId38"/>
    <p:sldLayoutId id="2147483713" r:id="rId39"/>
    <p:sldLayoutId id="2147483714" r:id="rId40"/>
    <p:sldLayoutId id="2147483715" r:id="rId41"/>
    <p:sldLayoutId id="2147483716" r:id="rId42"/>
    <p:sldLayoutId id="2147483717" r:id="rId43"/>
    <p:sldLayoutId id="2147483718" r:id="rId44"/>
    <p:sldLayoutId id="2147483719" r:id="rId45"/>
    <p:sldLayoutId id="2147483720" r:id="rId46"/>
    <p:sldLayoutId id="2147483721" r:id="rId47"/>
    <p:sldLayoutId id="2147483722" r:id="rId48"/>
    <p:sldLayoutId id="2147483723" r:id="rId49"/>
    <p:sldLayoutId id="2147483724" r:id="rId50"/>
    <p:sldLayoutId id="2147483725" r:id="rId51"/>
    <p:sldLayoutId id="2147483726" r:id="rId52"/>
    <p:sldLayoutId id="2147483727" r:id="rId53"/>
    <p:sldLayoutId id="2147483728" r:id="rId54"/>
    <p:sldLayoutId id="2147483729" r:id="rId55"/>
    <p:sldLayoutId id="2147483730" r:id="rId56"/>
    <p:sldLayoutId id="2147483731" r:id="rId57"/>
    <p:sldLayoutId id="2147483732" r:id="rId58"/>
    <p:sldLayoutId id="2147483733" r:id="rId59"/>
    <p:sldLayoutId id="2147483734" r:id="rId60"/>
    <p:sldLayoutId id="2147483735" r:id="rId61"/>
    <p:sldLayoutId id="2147483736" r:id="rId62"/>
    <p:sldLayoutId id="2147483737" r:id="rId63"/>
    <p:sldLayoutId id="2147483738" r:id="rId64"/>
    <p:sldLayoutId id="2147483739" r:id="rId65"/>
    <p:sldLayoutId id="2147483740" r:id="rId66"/>
    <p:sldLayoutId id="2147483741" r:id="rId67"/>
    <p:sldLayoutId id="2147483742" r:id="rId68"/>
    <p:sldLayoutId id="2147483743" r:id="rId69"/>
    <p:sldLayoutId id="2147483744" r:id="rId70"/>
    <p:sldLayoutId id="2147483745" r:id="rId71"/>
    <p:sldLayoutId id="2147483746" r:id="rId72"/>
    <p:sldLayoutId id="2147483747" r:id="rId73"/>
    <p:sldLayoutId id="2147483748" r:id="rId74"/>
    <p:sldLayoutId id="2147483749" r:id="rId75"/>
    <p:sldLayoutId id="2147483750" r:id="rId76"/>
    <p:sldLayoutId id="2147483751" r:id="rId77"/>
    <p:sldLayoutId id="2147483752" r:id="rId78"/>
    <p:sldLayoutId id="2147483753" r:id="rId79"/>
    <p:sldLayoutId id="2147483754" r:id="rId80"/>
    <p:sldLayoutId id="2147483755" r:id="rId81"/>
    <p:sldLayoutId id="2147483756" r:id="rId82"/>
    <p:sldLayoutId id="2147483757" r:id="rId83"/>
    <p:sldLayoutId id="2147483758" r:id="rId84"/>
    <p:sldLayoutId id="2147483759" r:id="rId85"/>
    <p:sldLayoutId id="2147483760" r:id="rId86"/>
    <p:sldLayoutId id="2147483761" r:id="rId87"/>
    <p:sldLayoutId id="2147483762" r:id="rId88"/>
    <p:sldLayoutId id="2147483763" r:id="rId89"/>
    <p:sldLayoutId id="2147483764" r:id="rId90"/>
    <p:sldLayoutId id="2147483765" r:id="rId91"/>
    <p:sldLayoutId id="2147483766" r:id="rId92"/>
    <p:sldLayoutId id="2147483767" r:id="rId93"/>
    <p:sldLayoutId id="2147483768" r:id="rId94"/>
    <p:sldLayoutId id="2147483769" r:id="rId95"/>
    <p:sldLayoutId id="2147483770" r:id="rId96"/>
    <p:sldLayoutId id="2147483771" r:id="rId97"/>
    <p:sldLayoutId id="2147483772" r:id="rId98"/>
    <p:sldLayoutId id="2147483773" r:id="rId99"/>
    <p:sldLayoutId id="2147483774" r:id="rId100"/>
    <p:sldLayoutId id="2147483775" r:id="rId101"/>
    <p:sldLayoutId id="2147483776" r:id="rId102"/>
    <p:sldLayoutId id="2147483777" r:id="rId103"/>
    <p:sldLayoutId id="2147483778" r:id="rId104"/>
    <p:sldLayoutId id="2147483779" r:id="rId105"/>
    <p:sldLayoutId id="2147483780" r:id="rId106"/>
    <p:sldLayoutId id="2147483781" r:id="rId107"/>
    <p:sldLayoutId id="2147483782" r:id="rId108"/>
    <p:sldLayoutId id="2147483783" r:id="rId109"/>
    <p:sldLayoutId id="2147483784" r:id="rId110"/>
    <p:sldLayoutId id="2147483785" r:id="rId111"/>
    <p:sldLayoutId id="2147483786" r:id="rId112"/>
    <p:sldLayoutId id="2147483787" r:id="rId113"/>
    <p:sldLayoutId id="2147483788" r:id="rId114"/>
    <p:sldLayoutId id="2147483789" r:id="rId115"/>
    <p:sldLayoutId id="2147483790" r:id="rId116"/>
    <p:sldLayoutId id="2147483791" r:id="rId117"/>
    <p:sldLayoutId id="2147483792" r:id="rId118"/>
    <p:sldLayoutId id="2147483793" r:id="rId119"/>
    <p:sldLayoutId id="2147483794" r:id="rId120"/>
    <p:sldLayoutId id="2147483795" r:id="rId121"/>
    <p:sldLayoutId id="2147483796" r:id="rId122"/>
    <p:sldLayoutId id="2147483797" r:id="rId123"/>
    <p:sldLayoutId id="2147483798" r:id="rId124"/>
    <p:sldLayoutId id="2147483799" r:id="rId125"/>
    <p:sldLayoutId id="2147483800" r:id="rId126"/>
    <p:sldLayoutId id="2147483801" r:id="rId127"/>
    <p:sldLayoutId id="2147483802" r:id="rId128"/>
    <p:sldLayoutId id="2147483803" r:id="rId129"/>
    <p:sldLayoutId id="2147483804" r:id="rId130"/>
    <p:sldLayoutId id="2147483805" r:id="rId131"/>
    <p:sldLayoutId id="2147483806" r:id="rId132"/>
    <p:sldLayoutId id="2147483807" r:id="rId133"/>
    <p:sldLayoutId id="2147483808" r:id="rId134"/>
    <p:sldLayoutId id="2147483809" r:id="rId135"/>
    <p:sldLayoutId id="2147483810" r:id="rId136"/>
    <p:sldLayoutId id="2147483811" r:id="rId137"/>
    <p:sldLayoutId id="2147483812" r:id="rId138"/>
    <p:sldLayoutId id="2147483813" r:id="rId139"/>
    <p:sldLayoutId id="2147483814" r:id="rId140"/>
    <p:sldLayoutId id="2147483815" r:id="rId141"/>
    <p:sldLayoutId id="2147483816" r:id="rId142"/>
    <p:sldLayoutId id="2147483817" r:id="rId143"/>
    <p:sldLayoutId id="2147483818" r:id="rId144"/>
    <p:sldLayoutId id="2147483819" r:id="rId145"/>
    <p:sldLayoutId id="2147483820" r:id="rId146"/>
    <p:sldLayoutId id="2147483821" r:id="rId147"/>
    <p:sldLayoutId id="2147483822" r:id="rId148"/>
    <p:sldLayoutId id="2147483823" r:id="rId149"/>
    <p:sldLayoutId id="2147483824" r:id="rId150"/>
    <p:sldLayoutId id="2147483825" r:id="rId151"/>
    <p:sldLayoutId id="2147483826" r:id="rId152"/>
    <p:sldLayoutId id="2147483827" r:id="rId153"/>
    <p:sldLayoutId id="2147483828" r:id="rId154"/>
    <p:sldLayoutId id="2147483829" r:id="rId155"/>
    <p:sldLayoutId id="2147483830" r:id="rId156"/>
    <p:sldLayoutId id="2147483831" r:id="rId157"/>
    <p:sldLayoutId id="2147483832" r:id="rId158"/>
    <p:sldLayoutId id="2147483833" r:id="rId159"/>
    <p:sldLayoutId id="2147483834" r:id="rId160"/>
    <p:sldLayoutId id="2147483835" r:id="rId161"/>
    <p:sldLayoutId id="2147483836" r:id="rId162"/>
    <p:sldLayoutId id="2147483837" r:id="rId163"/>
    <p:sldLayoutId id="2147483838" r:id="rId164"/>
    <p:sldLayoutId id="2147483839" r:id="rId165"/>
    <p:sldLayoutId id="2147483840" r:id="rId166"/>
    <p:sldLayoutId id="2147483841" r:id="rId167"/>
    <p:sldLayoutId id="2147483842" r:id="rId168"/>
    <p:sldLayoutId id="2147483843" r:id="rId169"/>
    <p:sldLayoutId id="2147483844" r:id="rId170"/>
    <p:sldLayoutId id="2147483845" r:id="rId171"/>
    <p:sldLayoutId id="2147483846" r:id="rId172"/>
    <p:sldLayoutId id="2147483847" r:id="rId173"/>
    <p:sldLayoutId id="2147483848" r:id="rId174"/>
    <p:sldLayoutId id="2147483849" r:id="rId175"/>
    <p:sldLayoutId id="2147483850" r:id="rId176"/>
    <p:sldLayoutId id="2147483851" r:id="rId177"/>
    <p:sldLayoutId id="2147483852" r:id="rId178"/>
    <p:sldLayoutId id="2147483853" r:id="rId179"/>
    <p:sldLayoutId id="2147483854" r:id="rId180"/>
    <p:sldLayoutId id="2147483855" r:id="rId181"/>
    <p:sldLayoutId id="2147483856" r:id="rId182"/>
    <p:sldLayoutId id="2147483857" r:id="rId183"/>
    <p:sldLayoutId id="2147483858" r:id="rId184"/>
    <p:sldLayoutId id="2147483859" r:id="rId185"/>
    <p:sldLayoutId id="2147483860" r:id="rId186"/>
    <p:sldLayoutId id="2147483861" r:id="rId187"/>
    <p:sldLayoutId id="2147483862" r:id="rId188"/>
    <p:sldLayoutId id="2147483863" r:id="rId189"/>
    <p:sldLayoutId id="2147483864" r:id="rId190"/>
  </p:sldLayoutIdLst>
  <p:transition spd="med"/>
  <p:hf hdr="0" ftr="0" dt="0"/>
  <p:txStyles>
    <p:titleStyle>
      <a:lvl1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0" marR="0" indent="0" algn="l" defTabSz="457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titleStyle>
    <p:bodyStyle>
      <a:lvl1pPr marL="228600" marR="0" indent="-184594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457200" marR="0" indent="-184594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685800" marR="0" indent="-184594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14400" marR="0" indent="-184594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43000" marR="0" indent="-184595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371600" marR="0" indent="-184595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00200" marR="0" indent="-184595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828800" marR="0" indent="-184595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057400" marR="0" indent="-184595" algn="l" defTabSz="457200" rtl="0" latinLnBrk="0">
        <a:lnSpc>
          <a:spcPct val="90000"/>
        </a:lnSpc>
        <a:spcBef>
          <a:spcPts val="2250"/>
        </a:spcBef>
        <a:spcAft>
          <a:spcPts val="0"/>
        </a:spcAft>
        <a:buClr>
          <a:srgbClr val="000000"/>
        </a:buClr>
        <a:buSzPts val="4800"/>
        <a:buFont typeface="Helvetica Neue"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6A35A8-70A5-462C-BA90-AFB652A67633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529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  <p:sldLayoutId id="2147483890" r:id="rId25"/>
    <p:sldLayoutId id="2147483891" r:id="rId26"/>
    <p:sldLayoutId id="2147483892" r:id="rId27"/>
    <p:sldLayoutId id="2147483893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0">
            <a:lum/>
          </a:blip>
          <a:srcRect/>
          <a:stretch>
            <a:fillRect l="-8000" t="91000" r="6000" b="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67C5C6-45E3-4783-BC50-2B81359D480B}" type="datetime1">
              <a:rPr lang="en-US" noProof="0" smtClean="0"/>
              <a:t>5/18/2023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2997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914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1" r:id="rId27"/>
    <p:sldLayoutId id="214748392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8000" t="91000" r="6000" b="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7084C7-BD72-4B09-A119-DEF82CC1EACF}" type="datetime1">
              <a:rPr lang="en-US" smtClean="0"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DD129A-C4F4-44DC-A6A2-236E812E7F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38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8000" t="91000" r="6000" b="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6708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9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17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comments" Target="../comments/comment3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20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8.xml"/><Relationship Id="rId4" Type="http://schemas.openxmlformats.org/officeDocument/2006/relationships/image" Target="../media/image7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18" Type="http://schemas.openxmlformats.org/officeDocument/2006/relationships/image" Target="../media/image91.png"/><Relationship Id="rId3" Type="http://schemas.openxmlformats.org/officeDocument/2006/relationships/image" Target="../media/image76.svg"/><Relationship Id="rId7" Type="http://schemas.openxmlformats.org/officeDocument/2006/relationships/image" Target="../media/image80.svg"/><Relationship Id="rId12" Type="http://schemas.openxmlformats.org/officeDocument/2006/relationships/image" Target="../media/image85.png"/><Relationship Id="rId17" Type="http://schemas.openxmlformats.org/officeDocument/2006/relationships/image" Target="../media/image90.svg"/><Relationship Id="rId2" Type="http://schemas.openxmlformats.org/officeDocument/2006/relationships/image" Target="../media/image75.png"/><Relationship Id="rId16" Type="http://schemas.openxmlformats.org/officeDocument/2006/relationships/image" Target="../media/image89.png"/><Relationship Id="rId1" Type="http://schemas.openxmlformats.org/officeDocument/2006/relationships/slideLayout" Target="../slideLayouts/slideLayout276.xml"/><Relationship Id="rId6" Type="http://schemas.openxmlformats.org/officeDocument/2006/relationships/image" Target="../media/image79.png"/><Relationship Id="rId11" Type="http://schemas.openxmlformats.org/officeDocument/2006/relationships/image" Target="../media/image84.svg"/><Relationship Id="rId5" Type="http://schemas.openxmlformats.org/officeDocument/2006/relationships/image" Target="../media/image78.svg"/><Relationship Id="rId15" Type="http://schemas.openxmlformats.org/officeDocument/2006/relationships/image" Target="../media/image88.svg"/><Relationship Id="rId10" Type="http://schemas.openxmlformats.org/officeDocument/2006/relationships/image" Target="../media/image83.png"/><Relationship Id="rId19" Type="http://schemas.openxmlformats.org/officeDocument/2006/relationships/image" Target="../media/image92.svg"/><Relationship Id="rId4" Type="http://schemas.openxmlformats.org/officeDocument/2006/relationships/image" Target="../media/image77.png"/><Relationship Id="rId9" Type="http://schemas.openxmlformats.org/officeDocument/2006/relationships/image" Target="../media/image82.svg"/><Relationship Id="rId14" Type="http://schemas.openxmlformats.org/officeDocument/2006/relationships/image" Target="../media/image8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sv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76.xml"/><Relationship Id="rId6" Type="http://schemas.openxmlformats.org/officeDocument/2006/relationships/comments" Target="../comments/comment5.xml"/><Relationship Id="rId5" Type="http://schemas.openxmlformats.org/officeDocument/2006/relationships/image" Target="../media/image96.svg"/><Relationship Id="rId4" Type="http://schemas.openxmlformats.org/officeDocument/2006/relationships/image" Target="../media/image9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svg"/><Relationship Id="rId7" Type="http://schemas.openxmlformats.org/officeDocument/2006/relationships/image" Target="../media/image102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76.xml"/><Relationship Id="rId6" Type="http://schemas.openxmlformats.org/officeDocument/2006/relationships/image" Target="../media/image101.png"/><Relationship Id="rId5" Type="http://schemas.openxmlformats.org/officeDocument/2006/relationships/image" Target="../media/image100.svg"/><Relationship Id="rId4" Type="http://schemas.openxmlformats.org/officeDocument/2006/relationships/image" Target="../media/image99.png"/><Relationship Id="rId9" Type="http://schemas.openxmlformats.org/officeDocument/2006/relationships/image" Target="../media/image104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7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6.xml"/><Relationship Id="rId1" Type="http://schemas.openxmlformats.org/officeDocument/2006/relationships/slideLayout" Target="../slideLayouts/slideLayout27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7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76.xml"/><Relationship Id="rId4" Type="http://schemas.openxmlformats.org/officeDocument/2006/relationships/image" Target="../media/image11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7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7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7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9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2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2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20.xml"/><Relationship Id="rId4" Type="http://schemas.openxmlformats.org/officeDocument/2006/relationships/image" Target="../media/image126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2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0.xml"/><Relationship Id="rId1" Type="http://schemas.openxmlformats.org/officeDocument/2006/relationships/tags" Target="../tags/tag7.xml"/><Relationship Id="rId4" Type="http://schemas.openxmlformats.org/officeDocument/2006/relationships/image" Target="../media/image12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8C9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2D170C-F19F-B8FD-CD90-8FB69F71C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8296" y="-476146"/>
            <a:ext cx="7423355" cy="41756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FDEB41-2BE8-C184-4EA7-0F4C4B0C8A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5639" y="3899590"/>
            <a:ext cx="7718319" cy="238760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C00000"/>
                </a:solidFill>
              </a:rPr>
              <a:t>Hypertension management in patients with cardiovascular diseas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CC0443-2DC5-C1E3-46BF-569D3926D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00454" y="4832835"/>
            <a:ext cx="5284837" cy="1655762"/>
          </a:xfrm>
        </p:spPr>
        <p:txBody>
          <a:bodyPr>
            <a:normAutofit/>
          </a:bodyPr>
          <a:lstStyle/>
          <a:p>
            <a:r>
              <a:rPr lang="en-US" sz="2000" dirty="0"/>
              <a:t>DR. Shahrokh Ezzatzadegan</a:t>
            </a:r>
          </a:p>
          <a:p>
            <a:r>
              <a:rPr lang="en-US" sz="2000" dirty="0"/>
              <a:t>Associate Professor of Medicine</a:t>
            </a:r>
          </a:p>
          <a:p>
            <a:r>
              <a:rPr lang="en-US" sz="2000" dirty="0"/>
              <a:t>Shiraz University of Medical Scien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F1F14C-B9B1-DE0F-0D04-DAB43EB518F2}"/>
              </a:ext>
            </a:extLst>
          </p:cNvPr>
          <p:cNvSpPr/>
          <p:nvPr/>
        </p:nvSpPr>
        <p:spPr>
          <a:xfrm>
            <a:off x="7098889" y="2907890"/>
            <a:ext cx="2310581" cy="521110"/>
          </a:xfrm>
          <a:prstGeom prst="rect">
            <a:avLst/>
          </a:prstGeom>
          <a:solidFill>
            <a:srgbClr val="A8C9D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78BA38-CC56-D29D-4972-F70DCA7449F3}"/>
              </a:ext>
            </a:extLst>
          </p:cNvPr>
          <p:cNvSpPr/>
          <p:nvPr/>
        </p:nvSpPr>
        <p:spPr>
          <a:xfrm>
            <a:off x="8787581" y="2647335"/>
            <a:ext cx="2310581" cy="521110"/>
          </a:xfrm>
          <a:prstGeom prst="rect">
            <a:avLst/>
          </a:prstGeom>
          <a:solidFill>
            <a:srgbClr val="A8C9D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E40EB4-2599-37C4-CFC6-E46C48C22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8195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B8F8AE8-D1F3-7AC5-4578-108BC994E0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316"/>
          <a:stretch/>
        </p:blipFill>
        <p:spPr>
          <a:xfrm>
            <a:off x="1594173" y="1557641"/>
            <a:ext cx="8749977" cy="41993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4161DB-29F6-7A6A-420A-1249225583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74" y="252984"/>
            <a:ext cx="11059102" cy="130465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C7E5B49-CE9B-00DA-3031-7E602BD6C173}"/>
              </a:ext>
            </a:extLst>
          </p:cNvPr>
          <p:cNvSpPr txBox="1"/>
          <p:nvPr/>
        </p:nvSpPr>
        <p:spPr>
          <a:xfrm>
            <a:off x="390513" y="6211669"/>
            <a:ext cx="104346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European Heart Journal. 2018;39(33):3021-104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F31A0C4-D434-4C1C-744C-424D1B113C50}"/>
              </a:ext>
            </a:extLst>
          </p:cNvPr>
          <p:cNvSpPr/>
          <p:nvPr/>
        </p:nvSpPr>
        <p:spPr>
          <a:xfrm>
            <a:off x="3143250" y="5181600"/>
            <a:ext cx="2952750" cy="4953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F5BB4E-2B2D-933B-6D43-F7EE275D4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936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6B4500A-E918-D552-326B-0DFA88B3AB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1519"/>
          <a:stretch/>
        </p:blipFill>
        <p:spPr>
          <a:xfrm>
            <a:off x="419343" y="2083732"/>
            <a:ext cx="11055263" cy="41191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2680D7-8143-1B16-A057-95335F014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016" y="151819"/>
            <a:ext cx="6096000" cy="719153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D323818-CBC6-5FE8-5744-8D68C2191C44}"/>
              </a:ext>
            </a:extLst>
          </p:cNvPr>
          <p:cNvSpPr txBox="1"/>
          <p:nvPr/>
        </p:nvSpPr>
        <p:spPr>
          <a:xfrm>
            <a:off x="3208460" y="6336849"/>
            <a:ext cx="60930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uropean Heart Journal. 2018;39(33):3021-104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424C92-2906-871E-31D8-FE65081CCD24}"/>
              </a:ext>
            </a:extLst>
          </p:cNvPr>
          <p:cNvSpPr txBox="1"/>
          <p:nvPr/>
        </p:nvSpPr>
        <p:spPr>
          <a:xfrm>
            <a:off x="457199" y="1246519"/>
            <a:ext cx="11277601" cy="461665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ug treatment strategy for hypertension and hear failure with reduced ejection fraction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3F55986-4E68-1695-313D-56C75054A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2465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3D1F1E-0C33-5A11-1409-75856FB3A2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5" y="329269"/>
            <a:ext cx="7191375" cy="61994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6DE87A-18CD-03A4-9FE4-46920EED60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668" t="35231"/>
          <a:stretch/>
        </p:blipFill>
        <p:spPr>
          <a:xfrm>
            <a:off x="8172451" y="761999"/>
            <a:ext cx="3419064" cy="5016527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D2B1035-F3DF-4CDD-4214-C3065538E52D}"/>
              </a:ext>
            </a:extLst>
          </p:cNvPr>
          <p:cNvSpPr/>
          <p:nvPr/>
        </p:nvSpPr>
        <p:spPr>
          <a:xfrm>
            <a:off x="676278" y="4657725"/>
            <a:ext cx="4295772" cy="7239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503B55-38C6-A7E4-56D1-890E1D75566D}"/>
              </a:ext>
            </a:extLst>
          </p:cNvPr>
          <p:cNvSpPr/>
          <p:nvPr/>
        </p:nvSpPr>
        <p:spPr>
          <a:xfrm>
            <a:off x="676277" y="5642904"/>
            <a:ext cx="4476747" cy="7239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DAB5C4-64DF-0700-86F8-76DD34FEE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897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EFC4B-4031-3D89-AD6E-0CBBF64A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486" y="267153"/>
            <a:ext cx="10515600" cy="1325563"/>
          </a:xfrm>
        </p:spPr>
        <p:txBody>
          <a:bodyPr/>
          <a:lstStyle/>
          <a:p>
            <a:r>
              <a:rPr lang="en-US" dirty="0"/>
              <a:t>Antihypertensive treatment in HFrEF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E1A422-1DD7-0C43-60FA-06A7F0ED31FB}"/>
              </a:ext>
            </a:extLst>
          </p:cNvPr>
          <p:cNvSpPr/>
          <p:nvPr/>
        </p:nvSpPr>
        <p:spPr>
          <a:xfrm>
            <a:off x="1388737" y="1974980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RAS block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8299CDB-9F0F-C5D8-595A-C08F1781CE0C}"/>
              </a:ext>
            </a:extLst>
          </p:cNvPr>
          <p:cNvSpPr/>
          <p:nvPr/>
        </p:nvSpPr>
        <p:spPr>
          <a:xfrm>
            <a:off x="1388737" y="3723472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eta-block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24E4CC-CC49-C6DC-7AFF-A574CE062EA4}"/>
              </a:ext>
            </a:extLst>
          </p:cNvPr>
          <p:cNvSpPr/>
          <p:nvPr/>
        </p:nvSpPr>
        <p:spPr>
          <a:xfrm>
            <a:off x="1344465" y="5504117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CB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0D662B1-8461-47F7-0808-872157975383}"/>
              </a:ext>
            </a:extLst>
          </p:cNvPr>
          <p:cNvSpPr/>
          <p:nvPr/>
        </p:nvSpPr>
        <p:spPr>
          <a:xfrm>
            <a:off x="3871960" y="1999065"/>
            <a:ext cx="6138816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↑CO, ↓ congestive symptoms, ↓CV mortalit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DDEA4-9DAB-96DF-AB22-8121DF706049}"/>
              </a:ext>
            </a:extLst>
          </p:cNvPr>
          <p:cNvSpPr/>
          <p:nvPr/>
        </p:nvSpPr>
        <p:spPr>
          <a:xfrm>
            <a:off x="3871959" y="3734640"/>
            <a:ext cx="5319665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Improve survival (</a:t>
            </a:r>
            <a:r>
              <a:rPr lang="en-US" dirty="0"/>
              <a:t>Carvedilol in particular</a:t>
            </a:r>
            <a:r>
              <a:rPr lang="en-US" sz="2400" dirty="0"/>
              <a:t>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834E9D1-B8A3-39EF-E8D4-2F6ECBB315C4}"/>
              </a:ext>
            </a:extLst>
          </p:cNvPr>
          <p:cNvSpPr/>
          <p:nvPr/>
        </p:nvSpPr>
        <p:spPr>
          <a:xfrm>
            <a:off x="3871959" y="5504117"/>
            <a:ext cx="7570741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lodipine </a:t>
            </a:r>
            <a:r>
              <a:rPr lang="en-US" sz="2400" dirty="0">
                <a:solidFill>
                  <a:prstClr val="white"/>
                </a:solidFill>
              </a:rPr>
              <a:t>&amp; felodipine are safe but neutral on survival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D5693DF-BED6-31B6-D233-44C46A8DC6B7}"/>
              </a:ext>
            </a:extLst>
          </p:cNvPr>
          <p:cNvSpPr/>
          <p:nvPr/>
        </p:nvSpPr>
        <p:spPr>
          <a:xfrm>
            <a:off x="1388737" y="2849226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iuretic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33F9485-D46B-B1C9-479F-161442967BA2}"/>
              </a:ext>
            </a:extLst>
          </p:cNvPr>
          <p:cNvSpPr/>
          <p:nvPr/>
        </p:nvSpPr>
        <p:spPr>
          <a:xfrm>
            <a:off x="3871960" y="2849226"/>
            <a:ext cx="4286812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For signs of fluid overload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4E6623-C953-6BA1-06E4-8AD09DA187E6}"/>
              </a:ext>
            </a:extLst>
          </p:cNvPr>
          <p:cNvSpPr/>
          <p:nvPr/>
        </p:nvSpPr>
        <p:spPr>
          <a:xfrm>
            <a:off x="1388737" y="4597740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MRA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574A549-1157-5B07-5293-4484051FBD83}"/>
              </a:ext>
            </a:extLst>
          </p:cNvPr>
          <p:cNvSpPr/>
          <p:nvPr/>
        </p:nvSpPr>
        <p:spPr>
          <a:xfrm>
            <a:off x="3871959" y="4597740"/>
            <a:ext cx="3252742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Improve surviva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2E6C5C-BA98-11FF-A866-BFC7425E686A}"/>
              </a:ext>
            </a:extLst>
          </p:cNvPr>
          <p:cNvSpPr txBox="1"/>
          <p:nvPr/>
        </p:nvSpPr>
        <p:spPr>
          <a:xfrm>
            <a:off x="3871959" y="6189892"/>
            <a:ext cx="75707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CB (diltiazem and verapamil) were associated with worse outcome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452790-1A47-DAD8-08DD-182AE57FE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552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7" grpId="0" animBg="1"/>
      <p:bldP spid="3" grpId="0" animBg="1"/>
      <p:bldP spid="4" grpId="0" animBg="1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A15BA5B-A923-0577-E0DC-851DE4FF4C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532" r="12275"/>
          <a:stretch/>
        </p:blipFill>
        <p:spPr>
          <a:xfrm>
            <a:off x="3211286" y="2166256"/>
            <a:ext cx="4702629" cy="32834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7C7842-B60F-0C90-11B3-5A09E72E3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RAS inhibitors and kidneys in HFrEF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7A681E-17B2-744D-DB0F-0601BC3F8A2A}"/>
              </a:ext>
            </a:extLst>
          </p:cNvPr>
          <p:cNvSpPr txBox="1"/>
          <p:nvPr/>
        </p:nvSpPr>
        <p:spPr>
          <a:xfrm>
            <a:off x="908957" y="2025611"/>
            <a:ext cx="10374086" cy="58477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sz="3200" dirty="0"/>
              <a:t>Generally do not improve kidney function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90774F-2EA5-41B6-1AA5-CD93BC0997E5}"/>
              </a:ext>
            </a:extLst>
          </p:cNvPr>
          <p:cNvSpPr txBox="1"/>
          <p:nvPr/>
        </p:nvSpPr>
        <p:spPr>
          <a:xfrm>
            <a:off x="838200" y="4532025"/>
            <a:ext cx="10374086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sz="2800"/>
              <a:t>There is a rise in creatinine most likely in patients on high-dose diuretic therapy.</a:t>
            </a:r>
            <a:endParaRPr lang="en-US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6CC80C-ED93-9D0E-01AF-D55D960FA994}"/>
              </a:ext>
            </a:extLst>
          </p:cNvPr>
          <p:cNvSpPr txBox="1"/>
          <p:nvPr/>
        </p:nvSpPr>
        <p:spPr>
          <a:xfrm>
            <a:off x="838200" y="3089494"/>
            <a:ext cx="10374086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sz="2800"/>
              <a:t>Not generally need to be discontinued unless there is an increase in plasma creatinine that exceeds 30 to 35 percent from baseline. </a:t>
            </a: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6BA9AB-DF4A-5404-5AF1-2861F55AD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272AF-F3FA-A586-B703-FB1EDB032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699" y="460375"/>
            <a:ext cx="10182225" cy="1325563"/>
          </a:xfrm>
          <a:ln w="28575">
            <a:solidFill>
              <a:srgbClr val="002060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600" dirty="0"/>
              <a:t>Combination angiotensin receptor-</a:t>
            </a:r>
            <a:r>
              <a:rPr lang="en-US" sz="3600" dirty="0" err="1"/>
              <a:t>neprilysin</a:t>
            </a:r>
            <a:r>
              <a:rPr lang="en-US" sz="3600" dirty="0"/>
              <a:t> inhibit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33D20E-330D-1179-9A42-F0068BC35C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2320" y="2675160"/>
            <a:ext cx="5526330" cy="231003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E39FA2-D4D7-1DAE-532B-82CD0FA4A9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97" y="2675160"/>
            <a:ext cx="6467475" cy="267493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acubitril/valsartan (200 or 400 mg daily) reduced SBP and DBP more pronounced than valsartan.</a:t>
            </a:r>
          </a:p>
          <a:p>
            <a:pPr marL="0" indent="0">
              <a:buNone/>
            </a:pPr>
            <a:endParaRPr lang="en-US" sz="3500" dirty="0"/>
          </a:p>
          <a:p>
            <a:r>
              <a:rPr lang="en-US" dirty="0"/>
              <a:t>Are generally preferred in place of an ACE inhibitor or ARB in patients who have symptomatic HF and reduced EF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4E50B0-4F5C-4E6C-EC30-CDCFB331D905}"/>
              </a:ext>
            </a:extLst>
          </p:cNvPr>
          <p:cNvSpPr txBox="1"/>
          <p:nvPr/>
        </p:nvSpPr>
        <p:spPr>
          <a:xfrm>
            <a:off x="3581400" y="602829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European Heart Journal (2022) 00, 1–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5DB587-790B-C269-1B61-FE52B2E34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4638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DE4B5-AEA1-7989-D8A5-D947D82B7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676" y="196267"/>
            <a:ext cx="8201025" cy="1325563"/>
          </a:xfrm>
        </p:spPr>
        <p:txBody>
          <a:bodyPr>
            <a:normAutofit/>
          </a:bodyPr>
          <a:lstStyle/>
          <a:p>
            <a:r>
              <a:rPr lang="en-US" dirty="0"/>
              <a:t>Heart failure with preserved ejection fra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183752-594A-6FF3-3205-93D042B030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200" t="35714" r="33400"/>
          <a:stretch/>
        </p:blipFill>
        <p:spPr>
          <a:xfrm>
            <a:off x="7881812" y="859049"/>
            <a:ext cx="4129213" cy="55131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A3AF21-3795-CE62-A100-F20F78AC5B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875" y="2662238"/>
            <a:ext cx="6810375" cy="23336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D86141-957E-244A-5962-4516BDEAAF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3000"/>
          <a:stretch/>
        </p:blipFill>
        <p:spPr>
          <a:xfrm>
            <a:off x="612612" y="1690688"/>
            <a:ext cx="6629400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B78DBB-D66A-35DC-3C26-9FD4D4D22D55}"/>
              </a:ext>
            </a:extLst>
          </p:cNvPr>
          <p:cNvSpPr txBox="1"/>
          <p:nvPr/>
        </p:nvSpPr>
        <p:spPr>
          <a:xfrm>
            <a:off x="375425" y="5661878"/>
            <a:ext cx="7345400" cy="830997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wering BP improves diastolic dysfunction, irrespective of the type of antihypertensive treatment us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CD2F1-1FC8-BF98-A388-C39FD44A8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622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1A7795-F38A-6253-4AC7-EB2DD5E89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175" y="742950"/>
            <a:ext cx="5372100" cy="53721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CFC3D59-AF48-0CD2-232A-1A7A0D76469C}"/>
              </a:ext>
            </a:extLst>
          </p:cNvPr>
          <p:cNvSpPr txBox="1"/>
          <p:nvPr/>
        </p:nvSpPr>
        <p:spPr>
          <a:xfrm>
            <a:off x="990600" y="2767280"/>
            <a:ext cx="44577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/>
              <a:t>Stroke or Transient Ischemic At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89C5D9-B4C0-660E-DCE3-F1CF51C7D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37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E277C-D707-F2F3-09C0-BF018F94F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 dirty="0"/>
              <a:t>Previous stroke or T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D0A4C5-3860-7D40-650E-4402D2A9DF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9650" y="2216150"/>
            <a:ext cx="10515600" cy="3232150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C37ED4F-5BB5-5D2B-EB75-B4BC901D7A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1450706"/>
              </p:ext>
            </p:extLst>
          </p:nvPr>
        </p:nvGraphicFramePr>
        <p:xfrm>
          <a:off x="838200" y="2302404"/>
          <a:ext cx="9601201" cy="3671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5FBDB-388A-6FC3-7664-C3898BF7D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832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55161A-30C1-D21C-F522-DA570FF487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95" y="1847850"/>
            <a:ext cx="10848975" cy="4953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CC1F31-9D57-BFB0-1A8A-325725A69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513" y="4324350"/>
            <a:ext cx="11003457" cy="1905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B175DB-CCCE-C0A3-EA4D-71B30EC47A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10" y="2755106"/>
            <a:ext cx="10836760" cy="134778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C2680D7-8143-1B16-A057-95335F014F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513" y="364599"/>
            <a:ext cx="11059102" cy="13046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19189D2-A86A-D09B-F54F-21FC32D5783C}"/>
              </a:ext>
            </a:extLst>
          </p:cNvPr>
          <p:cNvSpPr txBox="1"/>
          <p:nvPr/>
        </p:nvSpPr>
        <p:spPr>
          <a:xfrm>
            <a:off x="390513" y="6211669"/>
            <a:ext cx="104346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Williams B, et al. 2018 ESC/ESH Guidelines for the management of arterial hypertension. European Heart Journal. 2018;39(33):3021-104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32B7B9-8C6D-2733-08FD-C0B990122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4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32AD2-8D1E-17C7-3051-8A77B803C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44550"/>
          </a:xfrm>
          <a:solidFill>
            <a:srgbClr val="FF0000"/>
          </a:solidFill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A0AA7F-4035-ACF6-B659-774DA8DF2B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Coronary artery disease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Chronic heart failure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Previous stroke or transient ischemic Attack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Atrial fibrillation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Aortic valve steno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C0EDE-23C3-50D2-1FCE-114CC2729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137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64EB756-E212-0F38-1598-B9FF321FC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64" y="5251638"/>
            <a:ext cx="11815072" cy="10181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D04F2AE-B591-8C55-47B6-E70C218E4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839" y="588242"/>
            <a:ext cx="10851821" cy="4999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F46369-BF2B-23BF-4820-902709D7018A}"/>
              </a:ext>
            </a:extLst>
          </p:cNvPr>
          <p:cNvSpPr txBox="1"/>
          <p:nvPr/>
        </p:nvSpPr>
        <p:spPr>
          <a:xfrm>
            <a:off x="6447120" y="3250468"/>
            <a:ext cx="4979540" cy="138499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ihypertensive treatment should not include BB unless there is a cardiac indication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366ACF-8BCB-D3E9-9C80-8C6B69ACF3AF}"/>
              </a:ext>
            </a:extLst>
          </p:cNvPr>
          <p:cNvSpPr txBox="1"/>
          <p:nvPr/>
        </p:nvSpPr>
        <p:spPr>
          <a:xfrm>
            <a:off x="6416509" y="1677743"/>
            <a:ext cx="4979540" cy="138499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re inferior to other antihypertensive drugs for stroke prevention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0173FE-E3F1-D356-9E69-812AACD67D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4000"/>
          <a:stretch/>
        </p:blipFill>
        <p:spPr>
          <a:xfrm>
            <a:off x="495300" y="1677743"/>
            <a:ext cx="5715000" cy="28956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6A4F5-457E-B876-6B0B-3E2661C1A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834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EFC4B-4031-3D89-AD6E-0CBBF64A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486" y="267153"/>
            <a:ext cx="10515600" cy="1325563"/>
          </a:xfrm>
        </p:spPr>
        <p:txBody>
          <a:bodyPr/>
          <a:lstStyle/>
          <a:p>
            <a:r>
              <a:rPr lang="en-US" dirty="0"/>
              <a:t>Antihypertensive treatment in TIA and strok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E1A422-1DD7-0C43-60FA-06A7F0ED31FB}"/>
              </a:ext>
            </a:extLst>
          </p:cNvPr>
          <p:cNvSpPr/>
          <p:nvPr/>
        </p:nvSpPr>
        <p:spPr>
          <a:xfrm>
            <a:off x="2065012" y="3294240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RAS block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8299CDB-9F0F-C5D8-595A-C08F1781CE0C}"/>
              </a:ext>
            </a:extLst>
          </p:cNvPr>
          <p:cNvSpPr/>
          <p:nvPr/>
        </p:nvSpPr>
        <p:spPr>
          <a:xfrm>
            <a:off x="2065012" y="5042732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eta-block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24E4CC-CC49-C6DC-7AFF-A574CE062EA4}"/>
              </a:ext>
            </a:extLst>
          </p:cNvPr>
          <p:cNvSpPr/>
          <p:nvPr/>
        </p:nvSpPr>
        <p:spPr>
          <a:xfrm>
            <a:off x="2065012" y="2236765"/>
            <a:ext cx="2048436" cy="846688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CB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0D662B1-8461-47F7-0808-872157975383}"/>
              </a:ext>
            </a:extLst>
          </p:cNvPr>
          <p:cNvSpPr/>
          <p:nvPr/>
        </p:nvSpPr>
        <p:spPr>
          <a:xfrm>
            <a:off x="4548235" y="3318325"/>
            <a:ext cx="4286812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  <a:latin typeface="Calibri" panose="020F0502020204030204"/>
              </a:rPr>
              <a:t>E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fectiv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>
                <a:solidFill>
                  <a:prstClr val="white"/>
                </a:solidFill>
              </a:rPr>
              <a:t>for stroke preventio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DDEA4-9DAB-96DF-AB22-8121DF706049}"/>
              </a:ext>
            </a:extLst>
          </p:cNvPr>
          <p:cNvSpPr/>
          <p:nvPr/>
        </p:nvSpPr>
        <p:spPr>
          <a:xfrm>
            <a:off x="4548234" y="5053900"/>
            <a:ext cx="5319665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/>
              <a:t>Inferior to other antihypertensive drug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834E9D1-B8A3-39EF-E8D4-2F6ECBB315C4}"/>
              </a:ext>
            </a:extLst>
          </p:cNvPr>
          <p:cNvSpPr/>
          <p:nvPr/>
        </p:nvSpPr>
        <p:spPr>
          <a:xfrm>
            <a:off x="4548236" y="2236765"/>
            <a:ext cx="5694314" cy="846688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Superior to RAS blockers and diuretics for stroke preven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EB55CD5-4563-BB60-4ED4-24E9FEC0C3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5914" y="3318325"/>
            <a:ext cx="821232" cy="5109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6192F2-922C-5842-687B-F19BC84670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5914" y="4231238"/>
            <a:ext cx="821232" cy="51098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E95C5C-C723-D57C-48C8-4C82718372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914" y="4990447"/>
            <a:ext cx="763400" cy="763400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D5693DF-BED6-31B6-D233-44C46A8DC6B7}"/>
              </a:ext>
            </a:extLst>
          </p:cNvPr>
          <p:cNvSpPr/>
          <p:nvPr/>
        </p:nvSpPr>
        <p:spPr>
          <a:xfrm>
            <a:off x="2065012" y="4168486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iuretic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33F9485-D46B-B1C9-479F-161442967BA2}"/>
              </a:ext>
            </a:extLst>
          </p:cNvPr>
          <p:cNvSpPr/>
          <p:nvPr/>
        </p:nvSpPr>
        <p:spPr>
          <a:xfrm>
            <a:off x="4548235" y="4168486"/>
            <a:ext cx="4286812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400" dirty="0">
                <a:solidFill>
                  <a:prstClr val="white"/>
                </a:solidFill>
                <a:latin typeface="Calibri" panose="020F0502020204030204"/>
              </a:rPr>
              <a:t>E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fectiv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>
                <a:solidFill>
                  <a:prstClr val="white"/>
                </a:solidFill>
              </a:rPr>
              <a:t>for stroke preventio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5459DA4-C5BC-518A-91A7-C52129ACDB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6386" y="2400987"/>
            <a:ext cx="821232" cy="51098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990228-6805-A160-2912-5D0E90DB7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356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920C7A-9A2D-C9D8-A369-964A4193CD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004" y="1662976"/>
            <a:ext cx="11074683" cy="4291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D74DCCF-4CFF-C940-ABCB-498C72FE5269}"/>
              </a:ext>
            </a:extLst>
          </p:cNvPr>
          <p:cNvSpPr txBox="1"/>
          <p:nvPr/>
        </p:nvSpPr>
        <p:spPr>
          <a:xfrm>
            <a:off x="461026" y="6138684"/>
            <a:ext cx="104346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European Heart Journal. 2018;39(33):3021-104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490576-88C1-401F-C6BB-11DAAC5252A7}"/>
              </a:ext>
            </a:extLst>
          </p:cNvPr>
          <p:cNvCxnSpPr/>
          <p:nvPr/>
        </p:nvCxnSpPr>
        <p:spPr>
          <a:xfrm>
            <a:off x="2990850" y="3581400"/>
            <a:ext cx="451485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2C7871-CA8D-CC39-8F71-35CFA5FE4914}"/>
              </a:ext>
            </a:extLst>
          </p:cNvPr>
          <p:cNvCxnSpPr>
            <a:cxnSpLocks/>
          </p:cNvCxnSpPr>
          <p:nvPr/>
        </p:nvCxnSpPr>
        <p:spPr>
          <a:xfrm>
            <a:off x="2019300" y="4019550"/>
            <a:ext cx="653415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A1C9888-857C-DE08-190A-54A6DC1E5262}"/>
              </a:ext>
            </a:extLst>
          </p:cNvPr>
          <p:cNvCxnSpPr>
            <a:cxnSpLocks/>
          </p:cNvCxnSpPr>
          <p:nvPr/>
        </p:nvCxnSpPr>
        <p:spPr>
          <a:xfrm>
            <a:off x="569116" y="4543425"/>
            <a:ext cx="8277225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2CEC70-B754-F941-F603-577FD862C246}"/>
              </a:ext>
            </a:extLst>
          </p:cNvPr>
          <p:cNvCxnSpPr>
            <a:cxnSpLocks/>
          </p:cNvCxnSpPr>
          <p:nvPr/>
        </p:nvCxnSpPr>
        <p:spPr>
          <a:xfrm>
            <a:off x="845341" y="5238750"/>
            <a:ext cx="5362575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1230A99A-D6B1-9BC5-4DC0-E8529B23A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54" y="358051"/>
            <a:ext cx="11058525" cy="130492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E235D4-F390-8C20-F553-37ECB8B9A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99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1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E760906-46EA-BD95-75CB-536552DCB9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434" t="1110" r="937" b="28389"/>
          <a:stretch/>
        </p:blipFill>
        <p:spPr>
          <a:xfrm>
            <a:off x="823357" y="432013"/>
            <a:ext cx="4847683" cy="59595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0BAC226-43EA-3B13-9B3F-FE275092C0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8301"/>
          <a:stretch/>
        </p:blipFill>
        <p:spPr>
          <a:xfrm>
            <a:off x="6007098" y="2390043"/>
            <a:ext cx="5870696" cy="217272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DE2A34-E598-0080-5BF8-B12763BE2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36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725D0-0958-9E2F-F55D-EE0F39D33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570" y="551552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Hypertension in Atrial fibrill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7E189A-5B1D-FDDA-AC55-64AF28B65430}"/>
              </a:ext>
            </a:extLst>
          </p:cNvPr>
          <p:cNvSpPr txBox="1"/>
          <p:nvPr/>
        </p:nvSpPr>
        <p:spPr>
          <a:xfrm>
            <a:off x="1276350" y="2378796"/>
            <a:ext cx="6096000" cy="523220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 important risk factor for AF. </a:t>
            </a:r>
            <a:endParaRPr lang="fa-IR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AB9C8F-130C-118C-3787-50795B546133}"/>
              </a:ext>
            </a:extLst>
          </p:cNvPr>
          <p:cNvSpPr txBox="1"/>
          <p:nvPr/>
        </p:nvSpPr>
        <p:spPr>
          <a:xfrm>
            <a:off x="1276351" y="3267877"/>
            <a:ext cx="8677274" cy="95410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lang="fa-I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st important independent risk factor for stroke in patients with</a:t>
            </a:r>
            <a:r>
              <a:rPr lang="fa-I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42DCCF-A0E4-E7E3-9B08-5C8B67EF3B97}"/>
              </a:ext>
            </a:extLst>
          </p:cNvPr>
          <p:cNvSpPr txBox="1"/>
          <p:nvPr/>
        </p:nvSpPr>
        <p:spPr>
          <a:xfrm>
            <a:off x="1276350" y="4689559"/>
            <a:ext cx="9867900" cy="95410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controlled hypertension is associated with an increased</a:t>
            </a:r>
            <a:r>
              <a:rPr lang="fa-I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acerebral bleeding risk with therapeutic anticoagulatio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C5F6A-59FD-702E-7A37-0774735B7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852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Shape 1"/>
          <p:cNvSpPr txBox="1"/>
          <p:nvPr/>
        </p:nvSpPr>
        <p:spPr>
          <a:xfrm>
            <a:off x="1560000" y="6238260"/>
            <a:ext cx="8640000" cy="4518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1200" b="1" spc="-1" dirty="0" err="1">
                <a:solidFill>
                  <a:schemeClr val="bg1"/>
                </a:solidFill>
                <a:latin typeface="Arial"/>
              </a:rPr>
              <a:t>Daehoon</a:t>
            </a:r>
            <a:r>
              <a:rPr lang="en-US" sz="1200" b="1" spc="-1" dirty="0">
                <a:solidFill>
                  <a:schemeClr val="bg1"/>
                </a:solidFill>
                <a:latin typeface="Arial"/>
              </a:rPr>
              <a:t> Kim et al. </a:t>
            </a:r>
            <a:r>
              <a:rPr lang="en-US" sz="1200" b="1" i="1" spc="-1" dirty="0">
                <a:solidFill>
                  <a:schemeClr val="bg1"/>
                </a:solidFill>
                <a:latin typeface="Arial"/>
              </a:rPr>
              <a:t>J Am Coll </a:t>
            </a:r>
            <a:r>
              <a:rPr lang="en-US" sz="1200" b="1" i="1" spc="-1" dirty="0" err="1">
                <a:solidFill>
                  <a:schemeClr val="bg1"/>
                </a:solidFill>
                <a:latin typeface="Arial"/>
              </a:rPr>
              <a:t>Cardiol</a:t>
            </a:r>
            <a:r>
              <a:rPr lang="en-US" sz="1200" b="1" spc="-1" dirty="0">
                <a:solidFill>
                  <a:schemeClr val="bg1"/>
                </a:solidFill>
                <a:latin typeface="Arial"/>
              </a:rPr>
              <a:t> 2018; 72:1233-1245.</a:t>
            </a:r>
            <a:endParaRPr lang="en-US" sz="1200" spc="-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39" name="Main graphic"/>
          <p:cNvPicPr/>
          <p:nvPr/>
        </p:nvPicPr>
        <p:blipFill>
          <a:blip r:embed="rId3"/>
          <a:stretch/>
        </p:blipFill>
        <p:spPr>
          <a:xfrm>
            <a:off x="2952480" y="1682374"/>
            <a:ext cx="6287040" cy="3809880"/>
          </a:xfrm>
          <a:prstGeom prst="rect">
            <a:avLst/>
          </a:prstGeom>
          <a:ln>
            <a:noFill/>
          </a:ln>
        </p:spPr>
      </p:pic>
      <p:sp>
        <p:nvSpPr>
          <p:cNvPr id="40" name="TextShape 2"/>
          <p:cNvSpPr txBox="1"/>
          <p:nvPr/>
        </p:nvSpPr>
        <p:spPr>
          <a:xfrm>
            <a:off x="1889760" y="6400800"/>
            <a:ext cx="3757320" cy="456120"/>
          </a:xfrm>
          <a:prstGeom prst="rect">
            <a:avLst/>
          </a:prstGeom>
          <a:noFill/>
          <a:ln>
            <a:noFill/>
          </a:ln>
        </p:spPr>
      </p:sp>
      <p:pic>
        <p:nvPicPr>
          <p:cNvPr id="41" name="Journal Logo"/>
          <p:cNvPicPr/>
          <p:nvPr/>
        </p:nvPicPr>
        <p:blipFill>
          <a:blip r:embed="rId4"/>
          <a:stretch/>
        </p:blipFill>
        <p:spPr>
          <a:xfrm>
            <a:off x="8168160" y="6107040"/>
            <a:ext cx="2463840" cy="714240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14FEA98-1D64-B19E-6A52-BD4EA5823666}"/>
              </a:ext>
            </a:extLst>
          </p:cNvPr>
          <p:cNvSpPr txBox="1"/>
          <p:nvPr/>
        </p:nvSpPr>
        <p:spPr>
          <a:xfrm>
            <a:off x="1847025" y="300455"/>
            <a:ext cx="863999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alence of HTN Among Patients With AF Meeting the Definition for HTN According to the JNC7 Guideline and the 2017 ACC/AHA Guideline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Shape 1"/>
          <p:cNvSpPr txBox="1"/>
          <p:nvPr/>
        </p:nvSpPr>
        <p:spPr>
          <a:xfrm>
            <a:off x="1341075" y="6238260"/>
            <a:ext cx="8640000" cy="4518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1200" b="1" spc="-1" dirty="0" err="1">
                <a:solidFill>
                  <a:schemeClr val="bg1"/>
                </a:solidFill>
                <a:latin typeface="Arial"/>
              </a:rPr>
              <a:t>Daehoon</a:t>
            </a:r>
            <a:r>
              <a:rPr lang="en-US" sz="1200" b="1" spc="-1" dirty="0">
                <a:solidFill>
                  <a:schemeClr val="bg1"/>
                </a:solidFill>
                <a:latin typeface="Arial"/>
              </a:rPr>
              <a:t> Kim et al. </a:t>
            </a:r>
            <a:r>
              <a:rPr lang="en-US" sz="1200" b="1" i="1" spc="-1" dirty="0">
                <a:solidFill>
                  <a:schemeClr val="bg1"/>
                </a:solidFill>
                <a:latin typeface="Arial"/>
              </a:rPr>
              <a:t>J Am Coll </a:t>
            </a:r>
            <a:r>
              <a:rPr lang="en-US" sz="1200" b="1" i="1" spc="-1" dirty="0" err="1">
                <a:solidFill>
                  <a:schemeClr val="bg1"/>
                </a:solidFill>
                <a:latin typeface="Arial"/>
              </a:rPr>
              <a:t>Cardiol</a:t>
            </a:r>
            <a:r>
              <a:rPr lang="en-US" sz="1200" b="1" spc="-1" dirty="0">
                <a:solidFill>
                  <a:schemeClr val="bg1"/>
                </a:solidFill>
                <a:latin typeface="Arial"/>
              </a:rPr>
              <a:t> 2018; 72:1233-1245.</a:t>
            </a:r>
            <a:endParaRPr lang="en-US" sz="1200" spc="-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0" name="TextShape 2"/>
          <p:cNvSpPr txBox="1"/>
          <p:nvPr/>
        </p:nvSpPr>
        <p:spPr>
          <a:xfrm>
            <a:off x="1022985" y="5878980"/>
            <a:ext cx="3757320" cy="456120"/>
          </a:xfrm>
          <a:prstGeom prst="rect">
            <a:avLst/>
          </a:prstGeom>
          <a:noFill/>
          <a:ln>
            <a:noFill/>
          </a:ln>
        </p:spPr>
      </p:sp>
      <p:pic>
        <p:nvPicPr>
          <p:cNvPr id="41" name="Journal Logo"/>
          <p:cNvPicPr/>
          <p:nvPr/>
        </p:nvPicPr>
        <p:blipFill>
          <a:blip r:embed="rId2"/>
          <a:stretch/>
        </p:blipFill>
        <p:spPr>
          <a:xfrm>
            <a:off x="8337232" y="5851920"/>
            <a:ext cx="2463840" cy="714240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7FDA4-9C67-2F96-6F8F-C5A2B9201641}"/>
              </a:ext>
            </a:extLst>
          </p:cNvPr>
          <p:cNvSpPr txBox="1"/>
          <p:nvPr/>
        </p:nvSpPr>
        <p:spPr>
          <a:xfrm>
            <a:off x="1992000" y="442053"/>
            <a:ext cx="8640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od Pressure Control Status Among Patients With AF and Treated Hypertension: Risk of Adverse Outcom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B7E2D6-BAA5-0C20-1121-062F90E80BBB}"/>
              </a:ext>
            </a:extLst>
          </p:cNvPr>
          <p:cNvSpPr txBox="1"/>
          <p:nvPr/>
        </p:nvSpPr>
        <p:spPr>
          <a:xfrm>
            <a:off x="750277" y="5145190"/>
            <a:ext cx="10961077" cy="523220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The recommended treatment targets are 120–129 and &lt;80 mmHg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5E831D-492C-9A3B-4C3E-C3B6F5743C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937" y="1368151"/>
            <a:ext cx="8846063" cy="35664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BD28F8F-EAD4-5B24-EA71-0A0DF67C15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096"/>
          <a:stretch/>
        </p:blipFill>
        <p:spPr>
          <a:xfrm>
            <a:off x="920261" y="289458"/>
            <a:ext cx="10351477" cy="5224005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892F886-AFCE-D2FB-7C5A-42313C8FAE61}"/>
              </a:ext>
            </a:extLst>
          </p:cNvPr>
          <p:cNvSpPr/>
          <p:nvPr/>
        </p:nvSpPr>
        <p:spPr>
          <a:xfrm>
            <a:off x="1296779" y="1955685"/>
            <a:ext cx="9834282" cy="600635"/>
          </a:xfrm>
          <a:prstGeom prst="roundRect">
            <a:avLst/>
          </a:prstGeom>
          <a:solidFill>
            <a:srgbClr val="FF0000">
              <a:alpha val="3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4BE14DD-AE56-6697-9193-A5344AEB5592}"/>
              </a:ext>
            </a:extLst>
          </p:cNvPr>
          <p:cNvSpPr/>
          <p:nvPr/>
        </p:nvSpPr>
        <p:spPr>
          <a:xfrm>
            <a:off x="1296779" y="4209379"/>
            <a:ext cx="9453282" cy="600635"/>
          </a:xfrm>
          <a:prstGeom prst="roundRect">
            <a:avLst/>
          </a:prstGeom>
          <a:solidFill>
            <a:srgbClr val="FF0000">
              <a:alpha val="3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DF1BD7-ADA0-EF01-4773-6A9BF0E54E21}"/>
              </a:ext>
            </a:extLst>
          </p:cNvPr>
          <p:cNvCxnSpPr/>
          <p:nvPr/>
        </p:nvCxnSpPr>
        <p:spPr>
          <a:xfrm>
            <a:off x="1548911" y="2234711"/>
            <a:ext cx="32289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A659FBE9-A773-5240-5292-899721A81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2960" y="4726183"/>
            <a:ext cx="5263276" cy="4937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2B0E941-CD95-1954-224D-80689164AC01}"/>
              </a:ext>
            </a:extLst>
          </p:cNvPr>
          <p:cNvSpPr txBox="1"/>
          <p:nvPr/>
        </p:nvSpPr>
        <p:spPr>
          <a:xfrm>
            <a:off x="383930" y="5614435"/>
            <a:ext cx="11424138" cy="95410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normal EF, non-dihydropyridine CCB (e.g. verapamil or diltiazem) can be considered for BP and rate control if BBs are contraindicated or not tolerat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7B64D-2C7C-7AD5-26DE-AC5117D6F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90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4432409-69A1-FA76-AE09-17F4E2DCCA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651" y="249633"/>
            <a:ext cx="10588697" cy="66083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FE73BD-D7BA-5DBF-A0DE-174D40B33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1651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64E19-48FC-FACB-3245-52FF4A4F2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0442"/>
            <a:ext cx="10515600" cy="1325563"/>
          </a:xfrm>
        </p:spPr>
        <p:txBody>
          <a:bodyPr/>
          <a:lstStyle/>
          <a:p>
            <a:r>
              <a:rPr lang="en-US" dirty="0"/>
              <a:t>Aortic valve steno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6F2F31-30D1-BA49-0095-8271406673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5289" y="2506662"/>
            <a:ext cx="6270812" cy="297077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 Hypertension coexists in ∼70% of the patients with aortic valve stenosis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 Evidence exists that hypertension promotes the progression and exaggerate symptoms  of aortic valve diseas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33EA7-90C4-F46D-EA98-6F7BE26A256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62" r="1748" b="2962"/>
          <a:stretch/>
        </p:blipFill>
        <p:spPr>
          <a:xfrm>
            <a:off x="6655278" y="780503"/>
            <a:ext cx="5239679" cy="581705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820FD-25DB-AE7B-7FF7-E3D9E3F0F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22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3903A1B-E2F1-76F5-EF74-56D4CD24C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5660155" cy="2852737"/>
          </a:xfrm>
        </p:spPr>
        <p:txBody>
          <a:bodyPr/>
          <a:lstStyle/>
          <a:p>
            <a:r>
              <a:rPr lang="en-US" dirty="0"/>
              <a:t>Coronary Artery Diseas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367C46-46F0-4A27-46EA-F9F3F633DB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919FC9-AA0C-9EA6-7636-02DF86A36A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005" y="1349522"/>
            <a:ext cx="4855445" cy="47401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47FCD9-B7F6-70A0-1F55-5D03F6E42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823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AD610-DE63-35ED-1CE2-C9C9C4F78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565" y="16790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 BP and risk of Aortic valve steno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84EBF3-9F99-FD68-F77E-E9085E9D71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461" y="5363247"/>
            <a:ext cx="10515600" cy="1325563"/>
          </a:xfrm>
        </p:spPr>
        <p:txBody>
          <a:bodyPr>
            <a:normAutofit fontScale="85000" lnSpcReduction="10000"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In 5.4 million patients without known CV disease, long-term exposure to elevated BP (median follow-up of 9.2 years) was associated with an increased risk of aortic valve stenosis and regurgitation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5337C0-1CFF-21D3-2B2D-010770CCCC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000"/>
          <a:stretch/>
        </p:blipFill>
        <p:spPr>
          <a:xfrm>
            <a:off x="1713218" y="1342353"/>
            <a:ext cx="8765563" cy="383711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5C9F31-6200-570B-D918-35B75356A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6453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A9CEAB-4BEC-DFC3-8373-822C86BE2B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107" y="-179632"/>
            <a:ext cx="9037018" cy="338098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4A7A9D8-FBDA-D0E8-86C8-CA83ABD761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911" y="3998603"/>
            <a:ext cx="11130178" cy="126363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435B0B-71D9-01AA-1911-4F59E4559616}"/>
              </a:ext>
            </a:extLst>
          </p:cNvPr>
          <p:cNvSpPr txBox="1"/>
          <p:nvPr/>
        </p:nvSpPr>
        <p:spPr>
          <a:xfrm>
            <a:off x="2791779" y="6071127"/>
            <a:ext cx="112742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/>
              <a:t>Nielsen, O. W., et al. (2016)." Circulation 134(6): 455-468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F2673A-985C-881B-1304-F64AA06D7B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243" y="3201350"/>
            <a:ext cx="4919065" cy="3656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FEBAD0-E9D3-D18E-A878-055FDC284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504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EFC4B-4031-3D89-AD6E-0CBBF64A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486" y="267153"/>
            <a:ext cx="10515600" cy="1325563"/>
          </a:xfrm>
        </p:spPr>
        <p:txBody>
          <a:bodyPr/>
          <a:lstStyle/>
          <a:p>
            <a:r>
              <a:rPr lang="en-US" dirty="0"/>
              <a:t>Antihypertensive treatment in 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C7B278-BDB8-3E85-F089-2F88B0CB1D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4407" y="1940251"/>
            <a:ext cx="9456731" cy="636495"/>
          </a:xfrm>
        </p:spPr>
        <p:txBody>
          <a:bodyPr>
            <a:normAutofit/>
          </a:bodyPr>
          <a:lstStyle/>
          <a:p>
            <a:r>
              <a:rPr lang="en-US" dirty="0"/>
              <a:t>Careful drug titration is recommended to avoid hypotension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E1A422-1DD7-0C43-60FA-06A7F0ED31FB}"/>
              </a:ext>
            </a:extLst>
          </p:cNvPr>
          <p:cNvSpPr/>
          <p:nvPr/>
        </p:nvSpPr>
        <p:spPr>
          <a:xfrm>
            <a:off x="1747220" y="3062702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S block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8299CDB-9F0F-C5D8-595A-C08F1781CE0C}"/>
              </a:ext>
            </a:extLst>
          </p:cNvPr>
          <p:cNvSpPr/>
          <p:nvPr/>
        </p:nvSpPr>
        <p:spPr>
          <a:xfrm>
            <a:off x="1747220" y="3880280"/>
            <a:ext cx="2048436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ta-block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24E4CC-CC49-C6DC-7AFF-A574CE062EA4}"/>
              </a:ext>
            </a:extLst>
          </p:cNvPr>
          <p:cNvSpPr/>
          <p:nvPr/>
        </p:nvSpPr>
        <p:spPr>
          <a:xfrm>
            <a:off x="1747220" y="4697858"/>
            <a:ext cx="2048436" cy="846688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CB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0D662B1-8461-47F7-0808-872157975383}"/>
              </a:ext>
            </a:extLst>
          </p:cNvPr>
          <p:cNvSpPr/>
          <p:nvPr/>
        </p:nvSpPr>
        <p:spPr>
          <a:xfrm>
            <a:off x="4230443" y="3062702"/>
            <a:ext cx="2944907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/>
              <a:t>Safe and effective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DDEA4-9DAB-96DF-AB22-8121DF706049}"/>
              </a:ext>
            </a:extLst>
          </p:cNvPr>
          <p:cNvSpPr/>
          <p:nvPr/>
        </p:nvSpPr>
        <p:spPr>
          <a:xfrm>
            <a:off x="4230443" y="3880280"/>
            <a:ext cx="4451668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/>
              <a:t>Safe and may improve survival.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834E9D1-B8A3-39EF-E8D4-2F6ECBB315C4}"/>
              </a:ext>
            </a:extLst>
          </p:cNvPr>
          <p:cNvSpPr/>
          <p:nvPr/>
        </p:nvSpPr>
        <p:spPr>
          <a:xfrm>
            <a:off x="4230444" y="4697858"/>
            <a:ext cx="5694314" cy="846688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/>
              <a:t>Cannot be recommended as no studies exist on their long-term use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EB55CD5-4563-BB60-4ED4-24E9FEC0C3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8122" y="3062702"/>
            <a:ext cx="821232" cy="5109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6192F2-922C-5842-687B-F19BC84670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8122" y="4005785"/>
            <a:ext cx="821232" cy="51098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E95C5C-C723-D57C-48C8-4C82718372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959" y="4697858"/>
            <a:ext cx="763400" cy="763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7C6F9-FB50-AA54-45CB-9EEEAFB27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904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2" name="Google Shape;1312;p1"/>
          <p:cNvSpPr/>
          <p:nvPr/>
        </p:nvSpPr>
        <p:spPr>
          <a:xfrm rot="3330189">
            <a:off x="10129803" y="934498"/>
            <a:ext cx="250895" cy="7615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97" y="0"/>
                </a:moveTo>
                <a:cubicBezTo>
                  <a:pt x="6202" y="0"/>
                  <a:pt x="2346" y="1039"/>
                  <a:pt x="1265" y="2442"/>
                </a:cubicBezTo>
                <a:lnTo>
                  <a:pt x="20335" y="2442"/>
                </a:lnTo>
                <a:cubicBezTo>
                  <a:pt x="19254" y="1039"/>
                  <a:pt x="15393" y="0"/>
                  <a:pt x="10797" y="0"/>
                </a:cubicBezTo>
                <a:close/>
                <a:moveTo>
                  <a:pt x="0" y="2803"/>
                </a:moveTo>
                <a:lnTo>
                  <a:pt x="0" y="3697"/>
                </a:lnTo>
                <a:lnTo>
                  <a:pt x="21600" y="3697"/>
                </a:lnTo>
                <a:lnTo>
                  <a:pt x="21600" y="2803"/>
                </a:lnTo>
                <a:lnTo>
                  <a:pt x="0" y="2803"/>
                </a:lnTo>
                <a:close/>
                <a:moveTo>
                  <a:pt x="1281" y="4060"/>
                </a:moveTo>
                <a:cubicBezTo>
                  <a:pt x="1839" y="4766"/>
                  <a:pt x="3100" y="5378"/>
                  <a:pt x="4805" y="5810"/>
                </a:cubicBezTo>
                <a:lnTo>
                  <a:pt x="16795" y="5810"/>
                </a:lnTo>
                <a:cubicBezTo>
                  <a:pt x="18500" y="5378"/>
                  <a:pt x="19756" y="4766"/>
                  <a:pt x="20314" y="4060"/>
                </a:cubicBezTo>
                <a:lnTo>
                  <a:pt x="1281" y="4060"/>
                </a:lnTo>
                <a:close/>
                <a:moveTo>
                  <a:pt x="3795" y="6218"/>
                </a:moveTo>
                <a:lnTo>
                  <a:pt x="6290" y="21600"/>
                </a:lnTo>
                <a:lnTo>
                  <a:pt x="15305" y="21600"/>
                </a:lnTo>
                <a:lnTo>
                  <a:pt x="17799" y="6218"/>
                </a:lnTo>
                <a:lnTo>
                  <a:pt x="3795" y="6218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57200" hangingPunct="0"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sz="1600" kern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sp>
        <p:nvSpPr>
          <p:cNvPr id="2003" name="Google Shape;1313;p1"/>
          <p:cNvSpPr/>
          <p:nvPr/>
        </p:nvSpPr>
        <p:spPr>
          <a:xfrm flipH="1">
            <a:off x="10678810" y="316552"/>
            <a:ext cx="1061285" cy="12695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5" h="21600" extrusionOk="0">
                <a:moveTo>
                  <a:pt x="9154" y="0"/>
                </a:moveTo>
                <a:cubicBezTo>
                  <a:pt x="3064" y="0"/>
                  <a:pt x="0" y="3297"/>
                  <a:pt x="0" y="7252"/>
                </a:cubicBezTo>
                <a:cubicBezTo>
                  <a:pt x="0" y="11207"/>
                  <a:pt x="2755" y="14261"/>
                  <a:pt x="3263" y="17024"/>
                </a:cubicBezTo>
                <a:cubicBezTo>
                  <a:pt x="3772" y="19786"/>
                  <a:pt x="1428" y="21600"/>
                  <a:pt x="1428" y="21600"/>
                </a:cubicBezTo>
                <a:lnTo>
                  <a:pt x="13269" y="21600"/>
                </a:lnTo>
                <a:cubicBezTo>
                  <a:pt x="14015" y="18211"/>
                  <a:pt x="15444" y="18832"/>
                  <a:pt x="16687" y="18799"/>
                </a:cubicBezTo>
                <a:cubicBezTo>
                  <a:pt x="17929" y="18767"/>
                  <a:pt x="19467" y="18460"/>
                  <a:pt x="19210" y="17068"/>
                </a:cubicBezTo>
                <a:cubicBezTo>
                  <a:pt x="19036" y="16134"/>
                  <a:pt x="19250" y="15837"/>
                  <a:pt x="19675" y="15341"/>
                </a:cubicBezTo>
                <a:cubicBezTo>
                  <a:pt x="20100" y="14844"/>
                  <a:pt x="19256" y="14402"/>
                  <a:pt x="19256" y="14402"/>
                </a:cubicBezTo>
                <a:lnTo>
                  <a:pt x="19745" y="14169"/>
                </a:lnTo>
                <a:cubicBezTo>
                  <a:pt x="19977" y="14061"/>
                  <a:pt x="20093" y="13835"/>
                  <a:pt x="20035" y="13619"/>
                </a:cubicBezTo>
                <a:cubicBezTo>
                  <a:pt x="20009" y="13533"/>
                  <a:pt x="19982" y="13430"/>
                  <a:pt x="19950" y="13301"/>
                </a:cubicBezTo>
                <a:cubicBezTo>
                  <a:pt x="19847" y="12874"/>
                  <a:pt x="20073" y="12503"/>
                  <a:pt x="20497" y="12373"/>
                </a:cubicBezTo>
                <a:cubicBezTo>
                  <a:pt x="20877" y="12260"/>
                  <a:pt x="21149" y="12098"/>
                  <a:pt x="21342" y="11942"/>
                </a:cubicBezTo>
                <a:cubicBezTo>
                  <a:pt x="21600" y="11737"/>
                  <a:pt x="21600" y="11374"/>
                  <a:pt x="21407" y="11120"/>
                </a:cubicBezTo>
                <a:cubicBezTo>
                  <a:pt x="20705" y="10192"/>
                  <a:pt x="19983" y="9173"/>
                  <a:pt x="19487" y="8520"/>
                </a:cubicBezTo>
                <a:cubicBezTo>
                  <a:pt x="18754" y="7554"/>
                  <a:pt x="19939" y="7036"/>
                  <a:pt x="19572" y="5994"/>
                </a:cubicBezTo>
                <a:cubicBezTo>
                  <a:pt x="18658" y="2406"/>
                  <a:pt x="15959" y="0"/>
                  <a:pt x="9154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57200" hangingPunct="0"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sz="1600" kern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sp>
        <p:nvSpPr>
          <p:cNvPr id="2004" name="Google Shape;1314;p1"/>
          <p:cNvSpPr/>
          <p:nvPr/>
        </p:nvSpPr>
        <p:spPr>
          <a:xfrm>
            <a:off x="0" y="6306207"/>
            <a:ext cx="12192000" cy="4572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57200" hangingPunct="0"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sz="1600" kern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sp>
        <p:nvSpPr>
          <p:cNvPr id="2005" name="Google Shape;1315;p1"/>
          <p:cNvSpPr txBox="1"/>
          <p:nvPr/>
        </p:nvSpPr>
        <p:spPr>
          <a:xfrm>
            <a:off x="165418" y="1958751"/>
            <a:ext cx="5464376" cy="1720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2850" tIns="22850" rIns="22850" bIns="22850">
            <a:spAutoFit/>
          </a:bodyPr>
          <a:lstStyle>
            <a:lvl1pPr algn="ctr">
              <a:lnSpc>
                <a:spcPct val="172000"/>
              </a:lnSpc>
              <a:defRPr sz="68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defTabSz="457200" hangingPunct="0"/>
            <a:r>
              <a:rPr sz="3400" kern="0" dirty="0"/>
              <a:t>Combination Therapy in Hypertension Management</a:t>
            </a:r>
          </a:p>
        </p:txBody>
      </p:sp>
      <p:pic>
        <p:nvPicPr>
          <p:cNvPr id="2006" name="Google Shape;1316;p1" descr="Google Shape;1316;p1"/>
          <p:cNvPicPr>
            <a:picLocks noChangeAspect="1"/>
          </p:cNvPicPr>
          <p:nvPr/>
        </p:nvPicPr>
        <p:blipFill>
          <a:blip r:embed="rId2"/>
          <a:srcRect l="4321" r="3732" b="39682"/>
          <a:stretch>
            <a:fillRect/>
          </a:stretch>
        </p:blipFill>
        <p:spPr>
          <a:xfrm>
            <a:off x="5739357" y="883146"/>
            <a:ext cx="5728401" cy="5091651"/>
          </a:xfrm>
          <a:prstGeom prst="rect">
            <a:avLst/>
          </a:prstGeom>
          <a:ln w="12700">
            <a:miter lim="400000"/>
          </a:ln>
        </p:spPr>
      </p:pic>
      <p:sp>
        <p:nvSpPr>
          <p:cNvPr id="2007" name="Dr. Shahrokh Ezzatzadegan…"/>
          <p:cNvSpPr txBox="1"/>
          <p:nvPr/>
        </p:nvSpPr>
        <p:spPr>
          <a:xfrm>
            <a:off x="396568" y="5184391"/>
            <a:ext cx="5002076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ctr" defTabSz="457200" hangingPunct="0">
              <a:defRPr sz="4500"/>
            </a:pPr>
            <a:r>
              <a:rPr sz="2250" kern="0">
                <a:solidFill>
                  <a:srgbClr val="5E5E5E"/>
                </a:solidFill>
                <a:latin typeface="Arial"/>
                <a:cs typeface="Arial"/>
                <a:sym typeface="Arial"/>
              </a:rPr>
              <a:t>Dr. Shahrokh Ezzatzadegan </a:t>
            </a:r>
          </a:p>
          <a:p>
            <a:pPr algn="ctr" defTabSz="457200" hangingPunct="0">
              <a:defRPr sz="4500"/>
            </a:pPr>
            <a:r>
              <a:rPr sz="2250" kern="0">
                <a:solidFill>
                  <a:srgbClr val="5E5E5E"/>
                </a:solidFill>
                <a:latin typeface="Arial"/>
                <a:cs typeface="Arial"/>
                <a:sym typeface="Arial"/>
              </a:rPr>
              <a:t>Shiraz University of Medical Science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BF4DC7-04BD-B24F-149A-4A6F9B2E5C5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963083" y="3122808"/>
            <a:ext cx="166712" cy="241092"/>
          </a:xfrm>
        </p:spPr>
        <p:txBody>
          <a:bodyPr/>
          <a:lstStyle/>
          <a:p>
            <a:pPr defTabSz="1219169" hangingPunct="0"/>
            <a:fld id="{86CB4B4D-7CA3-9044-876B-883B54F8677D}" type="slidenum">
              <a:rPr lang="en-US" kern="0"/>
              <a:pPr defTabSz="1219169" hangingPunct="0"/>
              <a:t>33</a:t>
            </a:fld>
            <a:endParaRPr lang="en-US" kern="0"/>
          </a:p>
        </p:txBody>
      </p:sp>
    </p:spTree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87" y="465402"/>
            <a:ext cx="4485351" cy="30709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907" y="3066605"/>
            <a:ext cx="7088903" cy="30361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7304" y="755205"/>
            <a:ext cx="6126591" cy="19674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8371" y="3252033"/>
            <a:ext cx="5802648" cy="319469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B05E2-AA01-56BA-DDBE-68D9C67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4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165164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323" y="0"/>
            <a:ext cx="9055947" cy="633427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E706A99-22C6-4C57-A34B-0FC628114C74}"/>
              </a:ext>
            </a:extLst>
          </p:cNvPr>
          <p:cNvSpPr/>
          <p:nvPr/>
        </p:nvSpPr>
        <p:spPr>
          <a:xfrm>
            <a:off x="1685731" y="4419600"/>
            <a:ext cx="3728952" cy="430306"/>
          </a:xfrm>
          <a:prstGeom prst="roundRect">
            <a:avLst/>
          </a:prstGeom>
          <a:noFill/>
          <a:ln w="571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endParaRPr lang="en-US" sz="1200" kern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3571C1-5987-06FE-ADA1-8C6F91289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5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4235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0F596EB-338B-0346-C327-9B1A0D72D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8034" y="1060743"/>
            <a:ext cx="9631668" cy="48995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487FA2-0AA4-2F71-E383-76D99AC6C2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128" y="983418"/>
            <a:ext cx="1026677" cy="4766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1621A3C-931A-6977-496C-61CBA6057CA4}"/>
              </a:ext>
            </a:extLst>
          </p:cNvPr>
          <p:cNvSpPr txBox="1"/>
          <p:nvPr/>
        </p:nvSpPr>
        <p:spPr>
          <a:xfrm>
            <a:off x="2756029" y="5937384"/>
            <a:ext cx="117213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69" hangingPunct="0">
              <a:defRPr/>
            </a:pPr>
            <a:r>
              <a:rPr lang="en-US" sz="1200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The core algorithm is also appropriate for most patients with HMOD, cerebrovascular disease, diabetes, or PAD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73CB4C-7671-5875-6658-DECDA528E7B3}"/>
              </a:ext>
            </a:extLst>
          </p:cNvPr>
          <p:cNvSpPr txBox="1"/>
          <p:nvPr/>
        </p:nvSpPr>
        <p:spPr>
          <a:xfrm>
            <a:off x="0" y="6527839"/>
            <a:ext cx="12299577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69" hangingPunct="0">
              <a:defRPr/>
            </a:pPr>
            <a:r>
              <a:rPr lang="en-US" sz="700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ACEi = angiotensin-converting enzyme inhibitor; ARB = angiotensin receptor blocker; CCB =calcium channel blocker; HMOD = hypertension-mediated organ damage; MI = myocardial infarction; o.d. = omni die (every day); PAD = peripheral artery diseas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B6A22D-C467-CB9A-7842-43C3CC36DDEE}"/>
              </a:ext>
            </a:extLst>
          </p:cNvPr>
          <p:cNvSpPr txBox="1"/>
          <p:nvPr/>
        </p:nvSpPr>
        <p:spPr>
          <a:xfrm>
            <a:off x="4777274" y="6124938"/>
            <a:ext cx="3971365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kern="0" dirty="0" err="1">
                <a:solidFill>
                  <a:srgbClr val="000000"/>
                </a:solidFill>
                <a:latin typeface="Segoe UI" panose="020B0502040204020203" pitchFamily="34" charset="0"/>
                <a:sym typeface="Helvetica Neue"/>
              </a:rPr>
              <a:t>Eur</a:t>
            </a:r>
            <a:r>
              <a:rPr lang="en-US" kern="0" dirty="0">
                <a:solidFill>
                  <a:srgbClr val="000000"/>
                </a:solidFill>
                <a:latin typeface="Segoe UI" panose="020B0502040204020203" pitchFamily="34" charset="0"/>
                <a:sym typeface="Helvetica Neue"/>
              </a:rPr>
              <a:t> Heart J. 2018 ;39:3021-3104</a:t>
            </a:r>
            <a:r>
              <a:rPr lang="ar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. </a:t>
            </a:r>
            <a:endParaRPr lang="en-US" kern="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94F0A9-8F2C-D1F2-7DB8-489FFA76C4D8}"/>
              </a:ext>
            </a:extLst>
          </p:cNvPr>
          <p:cNvSpPr/>
          <p:nvPr/>
        </p:nvSpPr>
        <p:spPr>
          <a:xfrm>
            <a:off x="0" y="6456024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AFD72-8AAA-B738-D6B6-AB8B21A4F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6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9937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733BE58-8614-6BBD-3244-13C9C0FBF631}"/>
              </a:ext>
            </a:extLst>
          </p:cNvPr>
          <p:cNvSpPr txBox="1"/>
          <p:nvPr/>
        </p:nvSpPr>
        <p:spPr>
          <a:xfrm>
            <a:off x="4157374" y="5843148"/>
            <a:ext cx="7288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dirty="0">
                <a:solidFill>
                  <a:srgbClr val="404040"/>
                </a:solidFill>
                <a:latin typeface="Calibri-Light"/>
                <a:sym typeface="Helvetica Neue"/>
              </a:rPr>
              <a:t>Vasc Health Risk </a:t>
            </a:r>
            <a:r>
              <a:rPr lang="en-US" dirty="0" err="1">
                <a:solidFill>
                  <a:srgbClr val="404040"/>
                </a:solidFill>
                <a:latin typeface="Calibri-Light"/>
                <a:sym typeface="Helvetica Neue"/>
              </a:rPr>
              <a:t>Manag</a:t>
            </a:r>
            <a:r>
              <a:rPr lang="en-US" dirty="0">
                <a:solidFill>
                  <a:srgbClr val="404040"/>
                </a:solidFill>
                <a:latin typeface="Calibri-Light"/>
                <a:sym typeface="Helvetica Neue"/>
              </a:rPr>
              <a:t> 2010; 6: 321–325</a:t>
            </a:r>
            <a:endParaRPr lang="en-US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CACDDC1-3A9B-13D0-1AAB-0168AA1047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34064" y="3806915"/>
            <a:ext cx="523875" cy="83820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DDDCCDD-8796-9B54-15D4-5CE86EC72FFD}"/>
              </a:ext>
            </a:extLst>
          </p:cNvPr>
          <p:cNvGrpSpPr/>
          <p:nvPr/>
        </p:nvGrpSpPr>
        <p:grpSpPr>
          <a:xfrm>
            <a:off x="3044013" y="2664962"/>
            <a:ext cx="6103974" cy="1000125"/>
            <a:chOff x="1820966" y="2332454"/>
            <a:chExt cx="6103974" cy="1000125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93923DE8-7F00-A52E-F4DE-BA2F6EFBF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20966" y="2684880"/>
              <a:ext cx="876300" cy="295275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549BBD-00EB-AAD9-414B-8A1DAE799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08282" y="2332454"/>
              <a:ext cx="438150" cy="1000125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9AA88FD3-3372-6AD0-EF2C-C328E08BE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76175" y="2626530"/>
              <a:ext cx="1400175" cy="495300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BCA62276-2483-9C95-0E00-A8A4FD113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24565" y="2764403"/>
              <a:ext cx="3000375" cy="266700"/>
            </a:xfrm>
            <a:prstGeom prst="rect">
              <a:avLst/>
            </a:prstGeom>
          </p:spPr>
        </p:pic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F07B468E-AC6B-C216-8D67-ED788883B0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62500" y="4906968"/>
            <a:ext cx="2667000" cy="63817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E5BE255F-948C-34FB-FF8B-F503C581856F}"/>
              </a:ext>
            </a:extLst>
          </p:cNvPr>
          <p:cNvGrpSpPr/>
          <p:nvPr/>
        </p:nvGrpSpPr>
        <p:grpSpPr>
          <a:xfrm>
            <a:off x="3419186" y="1366877"/>
            <a:ext cx="5353628" cy="1054492"/>
            <a:chOff x="1906437" y="1034370"/>
            <a:chExt cx="5353628" cy="1054492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5F4B7DF7-333B-3526-3485-5C865388B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06437" y="1034370"/>
              <a:ext cx="1476375" cy="100965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469A0FB4-8D45-7726-9EEF-32FFADFA5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485135" y="1593562"/>
              <a:ext cx="609600" cy="495300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8014EB44-9EA9-769F-2788-4746457AD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231115" y="1725014"/>
              <a:ext cx="3028950" cy="266700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F778A31-078F-4B93-7162-01C1755818E9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C8463D-42DB-464E-06C4-2E468080A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7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669137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2FDA9E3-3823-67A7-C279-E3C56921F1BE}"/>
              </a:ext>
            </a:extLst>
          </p:cNvPr>
          <p:cNvSpPr/>
          <p:nvPr/>
        </p:nvSpPr>
        <p:spPr>
          <a:xfrm>
            <a:off x="2711543" y="827263"/>
            <a:ext cx="6768917" cy="727299"/>
          </a:xfrm>
          <a:prstGeom prst="roundRect">
            <a:avLst/>
          </a:prstGeom>
          <a:solidFill>
            <a:srgbClr val="AC182D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/>
          <a:lstStyle/>
          <a:p>
            <a:pPr algn="ctr" defTabSz="457200">
              <a:defRPr/>
            </a:pPr>
            <a:r>
              <a:rPr lang="en-US" sz="2000" b="1" dirty="0">
                <a:solidFill>
                  <a:srgbClr val="FFFFFF"/>
                </a:solidFill>
                <a:latin typeface="Calibri-Bold"/>
                <a:sym typeface="Helvetica Neue"/>
              </a:rPr>
              <a:t>Up to 39% medication adherence with single pill combination versus free combination of antihypertensive medication</a:t>
            </a:r>
            <a:endParaRPr lang="en-US" sz="9600" b="1" baseline="30000" dirty="0">
              <a:solidFill>
                <a:prstClr val="white"/>
              </a:solidFill>
              <a:latin typeface="Calibri" panose="020F0502020204030204" pitchFamily="34" charset="0"/>
              <a:cs typeface="Adobe Arabic" panose="02040503050201020203" pitchFamily="18" charset="-78"/>
              <a:sym typeface="Helvetica Neue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7FCED3-4AFE-41E2-59ED-492085A6BA41}"/>
              </a:ext>
            </a:extLst>
          </p:cNvPr>
          <p:cNvSpPr txBox="1"/>
          <p:nvPr/>
        </p:nvSpPr>
        <p:spPr>
          <a:xfrm>
            <a:off x="3024340" y="5133081"/>
            <a:ext cx="6143320" cy="6155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>
            <a:spAutoFit/>
          </a:bodyPr>
          <a:lstStyle/>
          <a:p>
            <a:pPr defTabSz="457200">
              <a:defRPr/>
            </a:pPr>
            <a:r>
              <a:rPr lang="en-US" sz="1400" dirty="0">
                <a:solidFill>
                  <a:prstClr val="black"/>
                </a:solidFill>
                <a:latin typeface="Calibri-Light"/>
                <a:sym typeface="Helvetica Neue"/>
              </a:rPr>
              <a:t>Meta- analysis of 62, 481 patients with hypertension, with 30, 103 patients taking single pill combinations and 32, 378 patients taking</a:t>
            </a:r>
            <a:r>
              <a:rPr lang="fa-IR" sz="1400" dirty="0">
                <a:solidFill>
                  <a:prstClr val="black"/>
                </a:solidFill>
                <a:latin typeface="Calibri-Light"/>
                <a:cs typeface="Arial" panose="020B0604020202020204" pitchFamily="34" charset="0"/>
                <a:sym typeface="Helvetica Neue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-Light"/>
                <a:sym typeface="Helvetica Neue"/>
              </a:rPr>
              <a:t>free-equivalent combinations.</a:t>
            </a:r>
            <a:endParaRPr lang="en-US" sz="14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63D14-2D6F-BC27-F19E-5EAB6094E475}"/>
              </a:ext>
            </a:extLst>
          </p:cNvPr>
          <p:cNvSpPr txBox="1"/>
          <p:nvPr/>
        </p:nvSpPr>
        <p:spPr>
          <a:xfrm>
            <a:off x="3577292" y="2120101"/>
            <a:ext cx="265697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3200" b="1" dirty="0">
                <a:solidFill>
                  <a:srgbClr val="00447E"/>
                </a:solidFill>
                <a:latin typeface="Calibri-Bold"/>
                <a:sym typeface="Helvetica Neue"/>
              </a:rPr>
              <a:t>Up to </a:t>
            </a:r>
            <a:r>
              <a:rPr lang="en-US" sz="6000" b="1" dirty="0">
                <a:solidFill>
                  <a:srgbClr val="00447E"/>
                </a:solidFill>
                <a:latin typeface="Calibri-Bold"/>
                <a:sym typeface="Helvetica Neue"/>
              </a:rPr>
              <a:t>39%</a:t>
            </a:r>
            <a:endParaRPr lang="en-US" sz="3200" dirty="0">
              <a:solidFill>
                <a:srgbClr val="00447E"/>
              </a:solidFill>
              <a:latin typeface="Calibri" panose="020F0502020204030204"/>
              <a:sym typeface="Helvetica Neue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98CF6F6-5E8A-D850-D344-A4E7BECBBB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2893" y="3323019"/>
            <a:ext cx="2018414" cy="114519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E589FC3-FBE4-BE8F-1770-AC16DD0106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97288" y="1972877"/>
            <a:ext cx="2260871" cy="252074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842938D-3412-AE97-06BF-09192463BB10}"/>
              </a:ext>
            </a:extLst>
          </p:cNvPr>
          <p:cNvSpPr txBox="1"/>
          <p:nvPr/>
        </p:nvSpPr>
        <p:spPr>
          <a:xfrm>
            <a:off x="6701942" y="2322554"/>
            <a:ext cx="88502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4000" b="1" dirty="0">
                <a:solidFill>
                  <a:srgbClr val="262E61"/>
                </a:solidFill>
                <a:latin typeface="Calibri-Bold"/>
                <a:sym typeface="Helvetica Neue"/>
              </a:rPr>
              <a:t>RX</a:t>
            </a:r>
            <a:endParaRPr lang="en-US" sz="4000" dirty="0">
              <a:solidFill>
                <a:srgbClr val="262E61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4B6944-40C1-7AD3-6E69-82980F2DF5D3}"/>
              </a:ext>
            </a:extLst>
          </p:cNvPr>
          <p:cNvSpPr txBox="1"/>
          <p:nvPr/>
        </p:nvSpPr>
        <p:spPr>
          <a:xfrm>
            <a:off x="7213624" y="3322146"/>
            <a:ext cx="7638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2400" b="1" dirty="0">
                <a:solidFill>
                  <a:srgbClr val="9A0026"/>
                </a:solidFill>
                <a:latin typeface="Calibri-Bold"/>
                <a:sym typeface="Helvetica Neue"/>
              </a:rPr>
              <a:t>SPC</a:t>
            </a:r>
            <a:endParaRPr lang="en-US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F3FAA7-C5F6-AD21-2F6A-D72EF220E0B1}"/>
              </a:ext>
            </a:extLst>
          </p:cNvPr>
          <p:cNvSpPr txBox="1"/>
          <p:nvPr/>
        </p:nvSpPr>
        <p:spPr>
          <a:xfrm>
            <a:off x="254301" y="5983846"/>
            <a:ext cx="20815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000" dirty="0">
                <a:solidFill>
                  <a:srgbClr val="404040"/>
                </a:solidFill>
                <a:latin typeface="Calibri-Light"/>
                <a:sym typeface="Helvetica Neue"/>
              </a:rPr>
              <a:t>J Clin </a:t>
            </a:r>
            <a:r>
              <a:rPr lang="en-US" sz="1000" dirty="0" err="1">
                <a:solidFill>
                  <a:srgbClr val="404040"/>
                </a:solidFill>
                <a:latin typeface="Calibri-Light"/>
                <a:sym typeface="Helvetica Neue"/>
              </a:rPr>
              <a:t>Hypertens</a:t>
            </a:r>
            <a:r>
              <a:rPr lang="en-US" sz="1000" dirty="0">
                <a:solidFill>
                  <a:srgbClr val="404040"/>
                </a:solidFill>
                <a:latin typeface="Calibri-Light"/>
                <a:sym typeface="Helvetica Neue"/>
              </a:rPr>
              <a:t>. 2018;20:902–907.</a:t>
            </a:r>
            <a:endParaRPr lang="en-US" sz="10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D391B-9E14-A900-CC74-E2A0AAB2FE38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EC20E7-18AB-47E6-5787-1A282E75D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8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17194122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0802F71-7697-50ED-EF8A-28B86FD72F91}"/>
              </a:ext>
            </a:extLst>
          </p:cNvPr>
          <p:cNvSpPr txBox="1"/>
          <p:nvPr/>
        </p:nvSpPr>
        <p:spPr>
          <a:xfrm>
            <a:off x="192599" y="5781923"/>
            <a:ext cx="98191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600" dirty="0">
                <a:solidFill>
                  <a:srgbClr val="404040"/>
                </a:solidFill>
                <a:latin typeface="Calibri-Light"/>
                <a:sym typeface="Helvetica Neue"/>
              </a:rPr>
              <a:t>Vasc Health Risk </a:t>
            </a:r>
            <a:r>
              <a:rPr lang="en-US" sz="1600" dirty="0" err="1">
                <a:solidFill>
                  <a:srgbClr val="404040"/>
                </a:solidFill>
                <a:latin typeface="Calibri-Light"/>
                <a:sym typeface="Helvetica Neue"/>
              </a:rPr>
              <a:t>Manag</a:t>
            </a:r>
            <a:r>
              <a:rPr lang="en-US" sz="1600" dirty="0">
                <a:solidFill>
                  <a:srgbClr val="404040"/>
                </a:solidFill>
                <a:latin typeface="Calibri-Light"/>
                <a:sym typeface="Helvetica Neue"/>
              </a:rPr>
              <a:t>. 2010 ;6:321-325, J </a:t>
            </a:r>
            <a:r>
              <a:rPr lang="en-US" sz="1600" dirty="0" err="1">
                <a:solidFill>
                  <a:srgbClr val="404040"/>
                </a:solidFill>
                <a:latin typeface="Calibri-Light"/>
                <a:sym typeface="Helvetica Neue"/>
              </a:rPr>
              <a:t>Hypertens</a:t>
            </a:r>
            <a:r>
              <a:rPr lang="en-US" sz="1600" dirty="0">
                <a:solidFill>
                  <a:srgbClr val="404040"/>
                </a:solidFill>
                <a:latin typeface="Calibri-Light"/>
                <a:sym typeface="Helvetica Neue"/>
              </a:rPr>
              <a:t>. 2011;29:610-618, BMJ Open. 2019 ;9:e023995.</a:t>
            </a:r>
            <a:endParaRPr lang="en-US" sz="16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1B52C0-258F-33EE-3E79-DB638F88EEA3}"/>
              </a:ext>
            </a:extLst>
          </p:cNvPr>
          <p:cNvSpPr/>
          <p:nvPr/>
        </p:nvSpPr>
        <p:spPr>
          <a:xfrm>
            <a:off x="2096095" y="4230566"/>
            <a:ext cx="6768917" cy="74593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rIns="91440" bIns="91440" rtlCol="0" anchor="ctr"/>
          <a:lstStyle/>
          <a:p>
            <a:pPr algn="ctr" defTabSz="457200">
              <a:defRPr/>
            </a:pPr>
            <a:r>
              <a:rPr lang="en-US" sz="2000" b="1" dirty="0">
                <a:solidFill>
                  <a:prstClr val="black"/>
                </a:solidFill>
                <a:latin typeface="Calibri-Bold"/>
                <a:sym typeface="Helvetica Neue"/>
              </a:rPr>
              <a:t>Treatment adherence is strongly influenced by the pill</a:t>
            </a:r>
          </a:p>
          <a:p>
            <a:pPr algn="ctr" defTabSz="457200">
              <a:defRPr/>
            </a:pPr>
            <a:r>
              <a:rPr lang="en-US" sz="2000" b="1" dirty="0">
                <a:solidFill>
                  <a:prstClr val="black"/>
                </a:solidFill>
                <a:latin typeface="Calibri-Bold"/>
                <a:sym typeface="Helvetica Neue"/>
              </a:rPr>
              <a:t>number and frequency</a:t>
            </a:r>
            <a:endParaRPr lang="en-US" sz="8000" b="1" baseline="30000" dirty="0">
              <a:solidFill>
                <a:prstClr val="black"/>
              </a:solidFill>
              <a:latin typeface="Calibri" panose="020F0502020204030204" pitchFamily="34" charset="0"/>
              <a:cs typeface="Adobe Arabic" panose="02040503050201020203" pitchFamily="18" charset="-78"/>
              <a:sym typeface="Helvetica Neue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AFBF45-0830-BBC1-5C68-EADD236B98CC}"/>
              </a:ext>
            </a:extLst>
          </p:cNvPr>
          <p:cNvGrpSpPr/>
          <p:nvPr/>
        </p:nvGrpSpPr>
        <p:grpSpPr>
          <a:xfrm>
            <a:off x="2096095" y="624798"/>
            <a:ext cx="7215225" cy="3235034"/>
            <a:chOff x="2182033" y="1888042"/>
            <a:chExt cx="4387800" cy="182183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314228B-EAA3-848D-65FE-1AFC4385B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182033" y="2041093"/>
              <a:ext cx="4387800" cy="1668779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B30E7C4-EA71-7D72-B1F9-94FD76EC1CF7}"/>
                </a:ext>
              </a:extLst>
            </p:cNvPr>
            <p:cNvSpPr txBox="1"/>
            <p:nvPr/>
          </p:nvSpPr>
          <p:spPr>
            <a:xfrm>
              <a:off x="2562599" y="1888042"/>
              <a:ext cx="3850105" cy="1906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 defTabSz="457200">
                <a:defRPr/>
              </a:pPr>
              <a:r>
                <a:rPr lang="en-US" sz="1600" b="1" dirty="0">
                  <a:solidFill>
                    <a:srgbClr val="262E61"/>
                  </a:solidFill>
                  <a:latin typeface="Calibri-Bold"/>
                  <a:sym typeface="Helvetica Neue"/>
                </a:rPr>
                <a:t>Situation: </a:t>
              </a:r>
              <a:r>
                <a:rPr lang="en-US" sz="1200" dirty="0">
                  <a:solidFill>
                    <a:srgbClr val="262E61"/>
                  </a:solidFill>
                  <a:latin typeface="Calibri" panose="020F0502020204030204" pitchFamily="34" charset="0"/>
                  <a:sym typeface="Helvetica Neue"/>
                </a:rPr>
                <a:t>Nonadherence in patients with hypertension</a:t>
              </a:r>
              <a:endParaRPr lang="en-US" sz="1200" dirty="0">
                <a:solidFill>
                  <a:srgbClr val="262E61"/>
                </a:solidFill>
                <a:latin typeface="Calibri" panose="020F0502020204030204"/>
                <a:sym typeface="Helvetica Neue"/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75251372-EA55-0B52-EB46-90DF89C0B0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24046" y="2331229"/>
              <a:ext cx="808463" cy="1119925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91A3C0F-DCBB-BAE2-B301-BCF8660B45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24444" y="2276421"/>
              <a:ext cx="923950" cy="1433065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8BDB0193-1A46-6398-BAA9-ABB397553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205568" y="2242332"/>
              <a:ext cx="1153447" cy="1233646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661344D-C9A0-5F2D-6747-FA1ABC197CFF}"/>
                </a:ext>
              </a:extLst>
            </p:cNvPr>
            <p:cNvSpPr txBox="1"/>
            <p:nvPr/>
          </p:nvSpPr>
          <p:spPr>
            <a:xfrm>
              <a:off x="2926152" y="2403767"/>
              <a:ext cx="624302" cy="1906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600" b="1" dirty="0">
                  <a:solidFill>
                    <a:srgbClr val="00B050"/>
                  </a:solidFill>
                  <a:latin typeface="Calibri-Bold"/>
                  <a:sym typeface="Helvetica Neue"/>
                </a:rPr>
                <a:t>1 Pill</a:t>
              </a:r>
              <a:endParaRPr lang="en-US" sz="1600" dirty="0">
                <a:solidFill>
                  <a:srgbClr val="00B050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D54FF49-BDE9-10DF-FF9C-96E38049D80E}"/>
                </a:ext>
              </a:extLst>
            </p:cNvPr>
            <p:cNvSpPr txBox="1"/>
            <p:nvPr/>
          </p:nvSpPr>
          <p:spPr>
            <a:xfrm>
              <a:off x="4350428" y="2431628"/>
              <a:ext cx="636318" cy="1906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600" b="1" dirty="0">
                  <a:solidFill>
                    <a:srgbClr val="9A0026"/>
                  </a:solidFill>
                  <a:latin typeface="Calibri-Bold"/>
                  <a:sym typeface="Helvetica Neue"/>
                </a:rPr>
                <a:t>2 Pill</a:t>
              </a:r>
              <a:endParaRPr lang="en-US" sz="16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8FAC5B0-E2C8-FEF2-8D6A-6FCA702F64FC}"/>
                </a:ext>
              </a:extLst>
            </p:cNvPr>
            <p:cNvSpPr txBox="1"/>
            <p:nvPr/>
          </p:nvSpPr>
          <p:spPr>
            <a:xfrm>
              <a:off x="5732702" y="2419652"/>
              <a:ext cx="591372" cy="1906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600" b="1" dirty="0">
                  <a:solidFill>
                    <a:srgbClr val="9A0026"/>
                  </a:solidFill>
                  <a:latin typeface="Calibri-Bold"/>
                  <a:sym typeface="Helvetica Neue"/>
                </a:rPr>
                <a:t>3 Pill</a:t>
              </a:r>
              <a:endParaRPr lang="en-US" sz="16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F9E2DE9-F492-53BF-1827-8459B992AF06}"/>
                </a:ext>
              </a:extLst>
            </p:cNvPr>
            <p:cNvSpPr txBox="1"/>
            <p:nvPr/>
          </p:nvSpPr>
          <p:spPr>
            <a:xfrm>
              <a:off x="2867359" y="3103501"/>
              <a:ext cx="741884" cy="2253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2000" b="1" dirty="0">
                  <a:solidFill>
                    <a:srgbClr val="00B050"/>
                  </a:solidFill>
                  <a:latin typeface="Calibri-Bold"/>
                  <a:sym typeface="Helvetica Neue"/>
                </a:rPr>
                <a:t>&lt;10%</a:t>
              </a:r>
              <a:endParaRPr lang="en-US" sz="2000" dirty="0">
                <a:solidFill>
                  <a:srgbClr val="00B050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0036169-182C-D271-0F28-D1FCF47952F0}"/>
                </a:ext>
              </a:extLst>
            </p:cNvPr>
            <p:cNvSpPr txBox="1"/>
            <p:nvPr/>
          </p:nvSpPr>
          <p:spPr>
            <a:xfrm>
              <a:off x="4281884" y="3137154"/>
              <a:ext cx="716521" cy="1906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600" b="1" dirty="0">
                  <a:solidFill>
                    <a:srgbClr val="9A0026"/>
                  </a:solidFill>
                  <a:latin typeface="Calibri-Bold"/>
                  <a:sym typeface="Helvetica Neue"/>
                </a:rPr>
                <a:t>~20%</a:t>
              </a:r>
              <a:endParaRPr lang="en-US" sz="16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CE4197C-290A-3D63-2D3D-F52E9C6097F0}"/>
                </a:ext>
              </a:extLst>
            </p:cNvPr>
            <p:cNvSpPr txBox="1"/>
            <p:nvPr/>
          </p:nvSpPr>
          <p:spPr>
            <a:xfrm>
              <a:off x="5504250" y="3124454"/>
              <a:ext cx="710180" cy="1906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600" b="1" dirty="0">
                  <a:solidFill>
                    <a:srgbClr val="9A0026"/>
                  </a:solidFill>
                  <a:latin typeface="Calibri-Bold"/>
                  <a:sym typeface="Helvetica Neue"/>
                </a:rPr>
                <a:t>~40%</a:t>
              </a:r>
              <a:endParaRPr lang="en-US" sz="16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9DFC49B-E2D1-EC67-41B3-D1E806462CFC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D89EEF-7659-F267-5B42-B934F6F8E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39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10553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7391A-63B4-AC73-D7D1-915E71EE6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ry Artery Dise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8718A1-6E4F-8D5C-2AF5-DD9B3B59F7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20% of myocardial infarctions are attributable to hypertension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Every 10 mmHg reduction in office SBP reduced the risk by 17%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CC7B63-AFFD-5C72-975B-0251C24C1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6836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Microphone"/>
          <p:cNvSpPr/>
          <p:nvPr/>
        </p:nvSpPr>
        <p:spPr>
          <a:xfrm rot="3330189">
            <a:off x="10129803" y="934498"/>
            <a:ext cx="250894" cy="7615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97" y="0"/>
                </a:moveTo>
                <a:cubicBezTo>
                  <a:pt x="6202" y="0"/>
                  <a:pt x="2346" y="1039"/>
                  <a:pt x="1265" y="2442"/>
                </a:cubicBezTo>
                <a:lnTo>
                  <a:pt x="20335" y="2442"/>
                </a:lnTo>
                <a:cubicBezTo>
                  <a:pt x="19254" y="1039"/>
                  <a:pt x="15393" y="0"/>
                  <a:pt x="10797" y="0"/>
                </a:cubicBezTo>
                <a:close/>
                <a:moveTo>
                  <a:pt x="0" y="2803"/>
                </a:moveTo>
                <a:lnTo>
                  <a:pt x="0" y="3697"/>
                </a:lnTo>
                <a:lnTo>
                  <a:pt x="21600" y="3697"/>
                </a:lnTo>
                <a:lnTo>
                  <a:pt x="21600" y="2803"/>
                </a:lnTo>
                <a:lnTo>
                  <a:pt x="0" y="2803"/>
                </a:lnTo>
                <a:close/>
                <a:moveTo>
                  <a:pt x="1281" y="4060"/>
                </a:moveTo>
                <a:cubicBezTo>
                  <a:pt x="1839" y="4766"/>
                  <a:pt x="3100" y="5378"/>
                  <a:pt x="4805" y="5810"/>
                </a:cubicBezTo>
                <a:lnTo>
                  <a:pt x="16795" y="5810"/>
                </a:lnTo>
                <a:cubicBezTo>
                  <a:pt x="18500" y="5378"/>
                  <a:pt x="19756" y="4766"/>
                  <a:pt x="20314" y="4060"/>
                </a:cubicBezTo>
                <a:lnTo>
                  <a:pt x="1281" y="4060"/>
                </a:lnTo>
                <a:close/>
                <a:moveTo>
                  <a:pt x="3795" y="6218"/>
                </a:moveTo>
                <a:lnTo>
                  <a:pt x="6290" y="21600"/>
                </a:lnTo>
                <a:lnTo>
                  <a:pt x="15305" y="21600"/>
                </a:lnTo>
                <a:lnTo>
                  <a:pt x="17799" y="6218"/>
                </a:lnTo>
                <a:lnTo>
                  <a:pt x="3795" y="6218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314" name="Head"/>
          <p:cNvSpPr/>
          <p:nvPr/>
        </p:nvSpPr>
        <p:spPr>
          <a:xfrm flipH="1">
            <a:off x="10678786" y="316552"/>
            <a:ext cx="1061309" cy="12695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5" h="21600" extrusionOk="0">
                <a:moveTo>
                  <a:pt x="9154" y="0"/>
                </a:moveTo>
                <a:cubicBezTo>
                  <a:pt x="3064" y="0"/>
                  <a:pt x="0" y="3297"/>
                  <a:pt x="0" y="7252"/>
                </a:cubicBezTo>
                <a:cubicBezTo>
                  <a:pt x="0" y="11207"/>
                  <a:pt x="2755" y="14261"/>
                  <a:pt x="3263" y="17024"/>
                </a:cubicBezTo>
                <a:cubicBezTo>
                  <a:pt x="3772" y="19786"/>
                  <a:pt x="1428" y="21600"/>
                  <a:pt x="1428" y="21600"/>
                </a:cubicBezTo>
                <a:lnTo>
                  <a:pt x="13269" y="21600"/>
                </a:lnTo>
                <a:cubicBezTo>
                  <a:pt x="14015" y="18211"/>
                  <a:pt x="15444" y="18832"/>
                  <a:pt x="16687" y="18799"/>
                </a:cubicBezTo>
                <a:cubicBezTo>
                  <a:pt x="17929" y="18767"/>
                  <a:pt x="19467" y="18460"/>
                  <a:pt x="19210" y="17068"/>
                </a:cubicBezTo>
                <a:cubicBezTo>
                  <a:pt x="19036" y="16134"/>
                  <a:pt x="19250" y="15837"/>
                  <a:pt x="19675" y="15341"/>
                </a:cubicBezTo>
                <a:cubicBezTo>
                  <a:pt x="20100" y="14844"/>
                  <a:pt x="19256" y="14402"/>
                  <a:pt x="19256" y="14402"/>
                </a:cubicBezTo>
                <a:lnTo>
                  <a:pt x="19745" y="14169"/>
                </a:lnTo>
                <a:cubicBezTo>
                  <a:pt x="19977" y="14061"/>
                  <a:pt x="20093" y="13835"/>
                  <a:pt x="20035" y="13619"/>
                </a:cubicBezTo>
                <a:cubicBezTo>
                  <a:pt x="20009" y="13533"/>
                  <a:pt x="19982" y="13430"/>
                  <a:pt x="19950" y="13301"/>
                </a:cubicBezTo>
                <a:cubicBezTo>
                  <a:pt x="19847" y="12874"/>
                  <a:pt x="20073" y="12503"/>
                  <a:pt x="20497" y="12373"/>
                </a:cubicBezTo>
                <a:cubicBezTo>
                  <a:pt x="20877" y="12260"/>
                  <a:pt x="21149" y="12098"/>
                  <a:pt x="21342" y="11942"/>
                </a:cubicBezTo>
                <a:cubicBezTo>
                  <a:pt x="21600" y="11737"/>
                  <a:pt x="21600" y="11374"/>
                  <a:pt x="21407" y="11120"/>
                </a:cubicBezTo>
                <a:cubicBezTo>
                  <a:pt x="20705" y="10192"/>
                  <a:pt x="19983" y="9173"/>
                  <a:pt x="19487" y="8520"/>
                </a:cubicBezTo>
                <a:cubicBezTo>
                  <a:pt x="18754" y="7554"/>
                  <a:pt x="19939" y="7036"/>
                  <a:pt x="19572" y="5994"/>
                </a:cubicBezTo>
                <a:cubicBezTo>
                  <a:pt x="18658" y="2406"/>
                  <a:pt x="15959" y="0"/>
                  <a:pt x="9154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D2D4A04-02E2-E7D4-1FEA-CAB2D616636A}"/>
              </a:ext>
            </a:extLst>
          </p:cNvPr>
          <p:cNvSpPr/>
          <p:nvPr/>
        </p:nvSpPr>
        <p:spPr>
          <a:xfrm>
            <a:off x="1659477" y="1961445"/>
            <a:ext cx="9019309" cy="2508488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>
              <a:defRPr/>
            </a:pPr>
            <a:r>
              <a:rPr lang="en-US" sz="4800" kern="0" dirty="0">
                <a:solidFill>
                  <a:srgbClr val="D5D5D5">
                    <a:lumMod val="10000"/>
                  </a:srgb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 Medium"/>
              </a:rPr>
              <a:t>Combination versus Monotherapy and Sequential Up-titr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55EB67-19A4-2300-BF97-45B3764F7D04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3E6207-9E6F-563E-68E8-58AE8BA27B0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977933" y="3122808"/>
            <a:ext cx="166712" cy="241092"/>
          </a:xfrm>
        </p:spPr>
        <p:txBody>
          <a:bodyPr/>
          <a:lstStyle/>
          <a:p>
            <a:pPr algn="ctr" hangingPunct="0"/>
            <a:fld id="{86CB4B4D-7CA3-9044-876B-883B54F8677D}" type="slidenum">
              <a:rPr lang="en-US" kern="0">
                <a:latin typeface="Helvetica Neue"/>
                <a:sym typeface="Helvetica Neue"/>
              </a:rPr>
              <a:pPr algn="ctr" hangingPunct="0"/>
              <a:t>40</a:t>
            </a:fld>
            <a:endParaRPr lang="en-US" kern="0"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8340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733BE58-8614-6BBD-3244-13C9C0FBF631}"/>
              </a:ext>
            </a:extLst>
          </p:cNvPr>
          <p:cNvSpPr txBox="1"/>
          <p:nvPr/>
        </p:nvSpPr>
        <p:spPr>
          <a:xfrm>
            <a:off x="0" y="6008112"/>
            <a:ext cx="728843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900" dirty="0">
                <a:solidFill>
                  <a:srgbClr val="404040"/>
                </a:solidFill>
                <a:latin typeface="Calibri-Light"/>
                <a:sym typeface="Helvetica Neue"/>
              </a:rPr>
              <a:t>Vasc Health Risk </a:t>
            </a:r>
            <a:r>
              <a:rPr lang="en-US" sz="900" dirty="0" err="1">
                <a:solidFill>
                  <a:srgbClr val="404040"/>
                </a:solidFill>
                <a:latin typeface="Calibri-Light"/>
                <a:sym typeface="Helvetica Neue"/>
              </a:rPr>
              <a:t>Manag</a:t>
            </a:r>
            <a:r>
              <a:rPr lang="en-US" sz="900" dirty="0">
                <a:solidFill>
                  <a:srgbClr val="404040"/>
                </a:solidFill>
                <a:latin typeface="Calibri-Light"/>
                <a:sym typeface="Helvetica Neue"/>
              </a:rPr>
              <a:t>. 2011; 7: 701–708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35D446-C939-BF92-3A9E-BC9EDEA96BEC}"/>
              </a:ext>
            </a:extLst>
          </p:cNvPr>
          <p:cNvSpPr/>
          <p:nvPr/>
        </p:nvSpPr>
        <p:spPr>
          <a:xfrm>
            <a:off x="535905" y="2131515"/>
            <a:ext cx="4530618" cy="2188559"/>
          </a:xfrm>
          <a:prstGeom prst="roundRect">
            <a:avLst/>
          </a:prstGeom>
          <a:solidFill>
            <a:srgbClr val="AC182D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/>
          <a:lstStyle/>
          <a:p>
            <a:pPr algn="ctr" defTabSz="457200">
              <a:lnSpc>
                <a:spcPct val="150000"/>
              </a:lnSpc>
              <a:defRPr/>
            </a:pP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  <a:cs typeface="Adobe Arabic" panose="02040503050201020203" pitchFamily="18" charset="-78"/>
                <a:sym typeface="Helvetica Neue"/>
              </a:rPr>
              <a:t>Moderate doses of ARB/CCB/ diuretic is more effective in lowering nighttime and daytime ABP than a maximal dose of an ARB with a diureti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D5B526-6BBC-244A-E526-3FB844D445B6}"/>
              </a:ext>
            </a:extLst>
          </p:cNvPr>
          <p:cNvSpPr txBox="1"/>
          <p:nvPr/>
        </p:nvSpPr>
        <p:spPr>
          <a:xfrm>
            <a:off x="3032770" y="5713214"/>
            <a:ext cx="60399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9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Mean reduction in mean ABP at week 6 were significantly greater in the</a:t>
            </a:r>
            <a:r>
              <a:rPr lang="fa-IR" sz="900" dirty="0">
                <a:solidFill>
                  <a:srgbClr val="333333"/>
                </a:solidFill>
                <a:latin typeface="Calibri" panose="020F050202020403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en-US" sz="9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valsartan/amlodipine/HCTZ group than in the losartan/</a:t>
            </a:r>
            <a:r>
              <a:rPr lang="fa-IR" sz="900" dirty="0">
                <a:solidFill>
                  <a:srgbClr val="333333"/>
                </a:solidFill>
                <a:latin typeface="Calibri" panose="020F050202020403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en-US" sz="9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HCT group (-22.0 ±1.7/-13±1.0 versus -17.4±1.5/ -8.1±0.8 mmHg, P = 0.043/P &lt; 0.001, respectively).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94AA101-1F4D-A464-E3EE-E0495E1504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8368" y="821621"/>
            <a:ext cx="5608924" cy="468386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4308CF-D2EE-6247-2D91-1BD88C10B698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BE412-039A-3C2F-FE3C-201A24E6A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1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330400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Microphone"/>
          <p:cNvSpPr/>
          <p:nvPr/>
        </p:nvSpPr>
        <p:spPr>
          <a:xfrm rot="3330189">
            <a:off x="10129803" y="934498"/>
            <a:ext cx="250894" cy="7615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97" y="0"/>
                </a:moveTo>
                <a:cubicBezTo>
                  <a:pt x="6202" y="0"/>
                  <a:pt x="2346" y="1039"/>
                  <a:pt x="1265" y="2442"/>
                </a:cubicBezTo>
                <a:lnTo>
                  <a:pt x="20335" y="2442"/>
                </a:lnTo>
                <a:cubicBezTo>
                  <a:pt x="19254" y="1039"/>
                  <a:pt x="15393" y="0"/>
                  <a:pt x="10797" y="0"/>
                </a:cubicBezTo>
                <a:close/>
                <a:moveTo>
                  <a:pt x="0" y="2803"/>
                </a:moveTo>
                <a:lnTo>
                  <a:pt x="0" y="3697"/>
                </a:lnTo>
                <a:lnTo>
                  <a:pt x="21600" y="3697"/>
                </a:lnTo>
                <a:lnTo>
                  <a:pt x="21600" y="2803"/>
                </a:lnTo>
                <a:lnTo>
                  <a:pt x="0" y="2803"/>
                </a:lnTo>
                <a:close/>
                <a:moveTo>
                  <a:pt x="1281" y="4060"/>
                </a:moveTo>
                <a:cubicBezTo>
                  <a:pt x="1839" y="4766"/>
                  <a:pt x="3100" y="5378"/>
                  <a:pt x="4805" y="5810"/>
                </a:cubicBezTo>
                <a:lnTo>
                  <a:pt x="16795" y="5810"/>
                </a:lnTo>
                <a:cubicBezTo>
                  <a:pt x="18500" y="5378"/>
                  <a:pt x="19756" y="4766"/>
                  <a:pt x="20314" y="4060"/>
                </a:cubicBezTo>
                <a:lnTo>
                  <a:pt x="1281" y="4060"/>
                </a:lnTo>
                <a:close/>
                <a:moveTo>
                  <a:pt x="3795" y="6218"/>
                </a:moveTo>
                <a:lnTo>
                  <a:pt x="6290" y="21600"/>
                </a:lnTo>
                <a:lnTo>
                  <a:pt x="15305" y="21600"/>
                </a:lnTo>
                <a:lnTo>
                  <a:pt x="17799" y="6218"/>
                </a:lnTo>
                <a:lnTo>
                  <a:pt x="3795" y="6218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314" name="Head"/>
          <p:cNvSpPr/>
          <p:nvPr/>
        </p:nvSpPr>
        <p:spPr>
          <a:xfrm flipH="1">
            <a:off x="10678786" y="316552"/>
            <a:ext cx="1061309" cy="12695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5" h="21600" extrusionOk="0">
                <a:moveTo>
                  <a:pt x="9154" y="0"/>
                </a:moveTo>
                <a:cubicBezTo>
                  <a:pt x="3064" y="0"/>
                  <a:pt x="0" y="3297"/>
                  <a:pt x="0" y="7252"/>
                </a:cubicBezTo>
                <a:cubicBezTo>
                  <a:pt x="0" y="11207"/>
                  <a:pt x="2755" y="14261"/>
                  <a:pt x="3263" y="17024"/>
                </a:cubicBezTo>
                <a:cubicBezTo>
                  <a:pt x="3772" y="19786"/>
                  <a:pt x="1428" y="21600"/>
                  <a:pt x="1428" y="21600"/>
                </a:cubicBezTo>
                <a:lnTo>
                  <a:pt x="13269" y="21600"/>
                </a:lnTo>
                <a:cubicBezTo>
                  <a:pt x="14015" y="18211"/>
                  <a:pt x="15444" y="18832"/>
                  <a:pt x="16687" y="18799"/>
                </a:cubicBezTo>
                <a:cubicBezTo>
                  <a:pt x="17929" y="18767"/>
                  <a:pt x="19467" y="18460"/>
                  <a:pt x="19210" y="17068"/>
                </a:cubicBezTo>
                <a:cubicBezTo>
                  <a:pt x="19036" y="16134"/>
                  <a:pt x="19250" y="15837"/>
                  <a:pt x="19675" y="15341"/>
                </a:cubicBezTo>
                <a:cubicBezTo>
                  <a:pt x="20100" y="14844"/>
                  <a:pt x="19256" y="14402"/>
                  <a:pt x="19256" y="14402"/>
                </a:cubicBezTo>
                <a:lnTo>
                  <a:pt x="19745" y="14169"/>
                </a:lnTo>
                <a:cubicBezTo>
                  <a:pt x="19977" y="14061"/>
                  <a:pt x="20093" y="13835"/>
                  <a:pt x="20035" y="13619"/>
                </a:cubicBezTo>
                <a:cubicBezTo>
                  <a:pt x="20009" y="13533"/>
                  <a:pt x="19982" y="13430"/>
                  <a:pt x="19950" y="13301"/>
                </a:cubicBezTo>
                <a:cubicBezTo>
                  <a:pt x="19847" y="12874"/>
                  <a:pt x="20073" y="12503"/>
                  <a:pt x="20497" y="12373"/>
                </a:cubicBezTo>
                <a:cubicBezTo>
                  <a:pt x="20877" y="12260"/>
                  <a:pt x="21149" y="12098"/>
                  <a:pt x="21342" y="11942"/>
                </a:cubicBezTo>
                <a:cubicBezTo>
                  <a:pt x="21600" y="11737"/>
                  <a:pt x="21600" y="11374"/>
                  <a:pt x="21407" y="11120"/>
                </a:cubicBezTo>
                <a:cubicBezTo>
                  <a:pt x="20705" y="10192"/>
                  <a:pt x="19983" y="9173"/>
                  <a:pt x="19487" y="8520"/>
                </a:cubicBezTo>
                <a:cubicBezTo>
                  <a:pt x="18754" y="7554"/>
                  <a:pt x="19939" y="7036"/>
                  <a:pt x="19572" y="5994"/>
                </a:cubicBezTo>
                <a:cubicBezTo>
                  <a:pt x="18658" y="2406"/>
                  <a:pt x="15959" y="0"/>
                  <a:pt x="9154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D2D4A04-02E2-E7D4-1FEA-CAB2D616636A}"/>
              </a:ext>
            </a:extLst>
          </p:cNvPr>
          <p:cNvSpPr/>
          <p:nvPr/>
        </p:nvSpPr>
        <p:spPr>
          <a:xfrm>
            <a:off x="1659477" y="1552823"/>
            <a:ext cx="9019309" cy="3325733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>
              <a:defRPr/>
            </a:pPr>
            <a:r>
              <a:rPr lang="en-US" sz="4800" kern="0" dirty="0">
                <a:solidFill>
                  <a:srgbClr val="D5D5D5">
                    <a:lumMod val="10000"/>
                  </a:srgb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 Medium"/>
              </a:rPr>
              <a:t>Which Combination? </a:t>
            </a:r>
          </a:p>
          <a:p>
            <a:pPr algn="ctr" defTabSz="412750" hangingPunct="0">
              <a:defRPr/>
            </a:pPr>
            <a:r>
              <a:rPr lang="en-US" sz="4800" kern="0" dirty="0">
                <a:solidFill>
                  <a:srgbClr val="D5D5D5">
                    <a:lumMod val="10000"/>
                  </a:srgb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 Medium"/>
              </a:rPr>
              <a:t>Single Pill Combination or </a:t>
            </a:r>
          </a:p>
          <a:p>
            <a:pPr algn="ctr" defTabSz="412750" hangingPunct="0">
              <a:defRPr/>
            </a:pPr>
            <a:r>
              <a:rPr lang="en-US" sz="4800" kern="0" dirty="0">
                <a:solidFill>
                  <a:srgbClr val="D5D5D5">
                    <a:lumMod val="10000"/>
                  </a:srgb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 Medium"/>
              </a:rPr>
              <a:t>Free Combination and Outcome Resul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55EB67-19A4-2300-BF97-45B3764F7D04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1127FE-1D3F-1B54-D1E7-F5EBBBBF646A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945873" y="3122808"/>
            <a:ext cx="230832" cy="241092"/>
          </a:xfrm>
        </p:spPr>
        <p:txBody>
          <a:bodyPr/>
          <a:lstStyle/>
          <a:p>
            <a:pPr algn="ctr" hangingPunct="0"/>
            <a:fld id="{86CB4B4D-7CA3-9044-876B-883B54F8677D}" type="slidenum">
              <a:rPr lang="en-US" kern="0">
                <a:latin typeface="Helvetica Neue"/>
                <a:sym typeface="Helvetica Neue"/>
              </a:rPr>
              <a:pPr algn="ctr" hangingPunct="0"/>
              <a:t>42</a:t>
            </a:fld>
            <a:endParaRPr lang="en-US" kern="0"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8353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CD288A0-A0EE-A37B-581E-592A50209D5A}"/>
              </a:ext>
            </a:extLst>
          </p:cNvPr>
          <p:cNvSpPr txBox="1"/>
          <p:nvPr/>
        </p:nvSpPr>
        <p:spPr>
          <a:xfrm>
            <a:off x="347371" y="5981050"/>
            <a:ext cx="4572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900" dirty="0">
                <a:solidFill>
                  <a:srgbClr val="404040"/>
                </a:solidFill>
                <a:latin typeface="Calibri-Light"/>
                <a:sym typeface="Helvetica Neue"/>
              </a:rPr>
              <a:t>Adapted from </a:t>
            </a:r>
            <a:r>
              <a:rPr lang="en-US" sz="900" dirty="0" err="1">
                <a:solidFill>
                  <a:srgbClr val="404040"/>
                </a:solidFill>
                <a:latin typeface="Calibri-Light"/>
                <a:sym typeface="Helvetica Neue"/>
              </a:rPr>
              <a:t>Integr</a:t>
            </a:r>
            <a:r>
              <a:rPr lang="en-US" sz="900" dirty="0">
                <a:solidFill>
                  <a:srgbClr val="404040"/>
                </a:solidFill>
                <a:latin typeface="Calibri-Light"/>
                <a:sym typeface="Helvetica Neue"/>
              </a:rPr>
              <a:t> Blood Press Control. 2013; 6:69-78, Hypertension. 2021;77:692–705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6698CB5-A878-0B1A-B970-277E64D9E8C0}"/>
              </a:ext>
            </a:extLst>
          </p:cNvPr>
          <p:cNvSpPr/>
          <p:nvPr/>
        </p:nvSpPr>
        <p:spPr>
          <a:xfrm>
            <a:off x="2711542" y="773627"/>
            <a:ext cx="6768917" cy="727299"/>
          </a:xfrm>
          <a:prstGeom prst="roundRect">
            <a:avLst/>
          </a:prstGeom>
          <a:solidFill>
            <a:srgbClr val="AC182D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/>
          <a:lstStyle/>
          <a:p>
            <a:pPr algn="ctr" defTabSz="457200">
              <a:defRPr/>
            </a:pPr>
            <a:r>
              <a:rPr lang="en-US" sz="2000" b="1" dirty="0">
                <a:solidFill>
                  <a:srgbClr val="FFFFFF"/>
                </a:solidFill>
                <a:latin typeface="Calibri-Bold"/>
                <a:sym typeface="Helvetica Neue"/>
              </a:rPr>
              <a:t>Simplicity, better compliance and tolerability all together with single pill combination versus free combination</a:t>
            </a:r>
            <a:endParaRPr lang="en-US" sz="8800" b="1" baseline="30000" dirty="0">
              <a:solidFill>
                <a:prstClr val="white"/>
              </a:solidFill>
              <a:latin typeface="Calibri" panose="020F0502020204030204" pitchFamily="34" charset="0"/>
              <a:cs typeface="Adobe Arabic" panose="02040503050201020203" pitchFamily="18" charset="-78"/>
              <a:sym typeface="Helvetica Neue"/>
            </a:endParaRP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4D0A910A-648A-731D-AB04-387FB3CFE12A}"/>
              </a:ext>
            </a:extLst>
          </p:cNvPr>
          <p:cNvGraphicFramePr>
            <a:graphicFrameLocks noGrp="1"/>
          </p:cNvGraphicFramePr>
          <p:nvPr/>
        </p:nvGraphicFramePr>
        <p:xfrm>
          <a:off x="2124662" y="1790789"/>
          <a:ext cx="7910715" cy="3756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6905">
                  <a:extLst>
                    <a:ext uri="{9D8B030D-6E8A-4147-A177-3AD203B41FA5}">
                      <a16:colId xmlns:a16="http://schemas.microsoft.com/office/drawing/2014/main" val="1205904926"/>
                    </a:ext>
                  </a:extLst>
                </a:gridCol>
                <a:gridCol w="2636905">
                  <a:extLst>
                    <a:ext uri="{9D8B030D-6E8A-4147-A177-3AD203B41FA5}">
                      <a16:colId xmlns:a16="http://schemas.microsoft.com/office/drawing/2014/main" val="3433049942"/>
                    </a:ext>
                  </a:extLst>
                </a:gridCol>
                <a:gridCol w="2636905">
                  <a:extLst>
                    <a:ext uri="{9D8B030D-6E8A-4147-A177-3AD203B41FA5}">
                      <a16:colId xmlns:a16="http://schemas.microsoft.com/office/drawing/2014/main" val="2718027884"/>
                    </a:ext>
                  </a:extLst>
                </a:gridCol>
              </a:tblGrid>
              <a:tr h="667300">
                <a:tc>
                  <a:txBody>
                    <a:bodyPr/>
                    <a:lstStyle/>
                    <a:p>
                      <a:endParaRPr lang="en-US" sz="2300" dirty="0"/>
                    </a:p>
                  </a:txBody>
                  <a:tcPr marL="118661" marR="118661" marT="59330" marB="59330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ree combination</a:t>
                      </a:r>
                    </a:p>
                    <a:p>
                      <a:pPr algn="ctr"/>
                      <a:r>
                        <a:rPr lang="en-US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erapy</a:t>
                      </a:r>
                      <a:endParaRPr lang="en-US" sz="2300" dirty="0"/>
                    </a:p>
                  </a:txBody>
                  <a:tcPr marL="118661" marR="118661" marT="59330" marB="59330">
                    <a:solidFill>
                      <a:srgbClr val="2D5E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ingle-pill combination</a:t>
                      </a:r>
                    </a:p>
                    <a:p>
                      <a:pPr algn="ctr"/>
                      <a:r>
                        <a:rPr lang="en-US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erapy</a:t>
                      </a:r>
                      <a:endParaRPr lang="en-US" sz="2300" dirty="0"/>
                    </a:p>
                  </a:txBody>
                  <a:tcPr marL="118661" marR="118661" marT="59330" marB="59330">
                    <a:solidFill>
                      <a:srgbClr val="00AD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01327"/>
                  </a:ext>
                </a:extLst>
              </a:tr>
              <a:tr h="48442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fficacy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B94952">
                        <a:alpha val="3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  <a:endParaRPr lang="en-US" sz="2400" b="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118661" marR="118661" marT="59330" marB="5933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  <a:endParaRPr lang="en-US" sz="2400" b="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66BDC7">
                        <a:alpha val="3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659570"/>
                  </a:ext>
                </a:extLst>
              </a:tr>
              <a:tr h="66730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ime to reach BP </a:t>
                      </a:r>
                    </a:p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AA1937">
                        <a:alpha val="3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  <a:endParaRPr lang="en-US" sz="2400" b="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118661" marR="118661" marT="59330" marB="59330">
                    <a:solidFill>
                      <a:schemeClr val="accent1">
                        <a:tint val="20000"/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  <a:endParaRPr lang="en-US" sz="2400" b="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00ADB8">
                        <a:alpha val="3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14696"/>
                  </a:ext>
                </a:extLst>
              </a:tr>
              <a:tr h="48442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P variability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B94952">
                        <a:alpha val="3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en-US" sz="2400" b="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118661" marR="118661" marT="59330" marB="5933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en-US" sz="2400" b="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66BDC7">
                        <a:alpha val="3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9323154"/>
                  </a:ext>
                </a:extLst>
              </a:tr>
              <a:tr h="48442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implicity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AA19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kern="1200" baseline="0" dirty="0">
                          <a:solidFill>
                            <a:srgbClr val="262E6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2400" b="1" dirty="0">
                        <a:solidFill>
                          <a:srgbClr val="262E61"/>
                        </a:solidFill>
                      </a:endParaRPr>
                    </a:p>
                  </a:txBody>
                  <a:tcPr marL="118661" marR="118661" marT="59330" marB="5933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00AD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469526"/>
                  </a:ext>
                </a:extLst>
              </a:tr>
              <a:tr h="48442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liance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B9495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kern="1200" baseline="0" dirty="0">
                          <a:solidFill>
                            <a:srgbClr val="262E6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2400" b="1" dirty="0">
                        <a:solidFill>
                          <a:srgbClr val="262E6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66BD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07085"/>
                  </a:ext>
                </a:extLst>
              </a:tr>
              <a:tr h="484420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lerability</a:t>
                      </a:r>
                      <a:endParaRPr lang="en-US" sz="23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AA19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>
                          <a:solidFill>
                            <a:srgbClr val="262E6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en-US" sz="2400" dirty="0">
                        <a:solidFill>
                          <a:srgbClr val="262E61"/>
                        </a:solidFill>
                      </a:endParaRPr>
                    </a:p>
                  </a:txBody>
                  <a:tcPr marL="118661" marR="118661" marT="59330" marB="5933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18661" marR="118661" marT="59330" marB="59330">
                    <a:solidFill>
                      <a:srgbClr val="00AD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73029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942F8483-9403-C022-FB15-5F4BFB6568DF}"/>
              </a:ext>
            </a:extLst>
          </p:cNvPr>
          <p:cNvSpPr txBox="1"/>
          <p:nvPr/>
        </p:nvSpPr>
        <p:spPr>
          <a:xfrm>
            <a:off x="3810000" y="5725798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4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Comparison between different HTN management strategies</a:t>
            </a:r>
            <a:endParaRPr lang="en-US" sz="14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1FAB87-64BD-A202-1A5C-81283E8A1B5D}"/>
              </a:ext>
            </a:extLst>
          </p:cNvPr>
          <p:cNvSpPr/>
          <p:nvPr/>
        </p:nvSpPr>
        <p:spPr>
          <a:xfrm>
            <a:off x="2124662" y="4101685"/>
            <a:ext cx="7910715" cy="1443180"/>
          </a:xfrm>
          <a:prstGeom prst="rect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ln w="28575">
                <a:solidFill>
                  <a:prstClr val="black"/>
                </a:solidFill>
              </a:ln>
              <a:solidFill>
                <a:srgbClr val="4472C4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04B28B-8798-9604-B5D8-4E14B176C84B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078DDE-BC67-5586-34DD-6B7DB9D89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3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570599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55C144-B7A4-0091-6C85-43335863DA43}"/>
              </a:ext>
            </a:extLst>
          </p:cNvPr>
          <p:cNvSpPr txBox="1"/>
          <p:nvPr/>
        </p:nvSpPr>
        <p:spPr>
          <a:xfrm>
            <a:off x="0" y="6097155"/>
            <a:ext cx="30956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fr-FR" sz="900" dirty="0">
                <a:solidFill>
                  <a:srgbClr val="404040"/>
                </a:solidFill>
                <a:latin typeface="Calibri-Light"/>
                <a:sym typeface="Helvetica Neue"/>
              </a:rPr>
              <a:t>Circ </a:t>
            </a:r>
            <a:r>
              <a:rPr lang="fr-FR" sz="900" dirty="0" err="1">
                <a:solidFill>
                  <a:srgbClr val="404040"/>
                </a:solidFill>
                <a:latin typeface="Calibri-Light"/>
                <a:sym typeface="Helvetica Neue"/>
              </a:rPr>
              <a:t>Res</a:t>
            </a:r>
            <a:r>
              <a:rPr lang="fr-FR" sz="900" dirty="0">
                <a:solidFill>
                  <a:srgbClr val="404040"/>
                </a:solidFill>
                <a:latin typeface="Calibri-Light"/>
                <a:sym typeface="Helvetica Neue"/>
              </a:rPr>
              <a:t>. 2019;124:1113–1123, Hypertension. 2018;72:846-853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2430FFA-F6E2-1D8C-6A6F-2B45A00BB890}"/>
              </a:ext>
            </a:extLst>
          </p:cNvPr>
          <p:cNvSpPr/>
          <p:nvPr/>
        </p:nvSpPr>
        <p:spPr>
          <a:xfrm>
            <a:off x="2700993" y="737539"/>
            <a:ext cx="6790011" cy="749295"/>
          </a:xfrm>
          <a:prstGeom prst="roundRect">
            <a:avLst/>
          </a:prstGeom>
          <a:solidFill>
            <a:srgbClr val="AC182D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/>
          <a:lstStyle/>
          <a:p>
            <a:pPr algn="ctr" defTabSz="457200">
              <a:defRPr/>
            </a:pPr>
            <a:r>
              <a:rPr lang="en-US" sz="2000" b="1" dirty="0">
                <a:solidFill>
                  <a:srgbClr val="FFFFFF"/>
                </a:solidFill>
                <a:latin typeface="Calibri-Bold"/>
                <a:sym typeface="Helvetica Neue"/>
              </a:rPr>
              <a:t>Hospitalization risk for cardiovascular events was lower with initial 2-drug single pill combination versus monotherapy</a:t>
            </a:r>
            <a:endParaRPr lang="en-US" sz="8000" b="1" baseline="30000" dirty="0">
              <a:solidFill>
                <a:prstClr val="white"/>
              </a:solidFill>
              <a:latin typeface="Calibri" panose="020F0502020204030204" pitchFamily="34" charset="0"/>
              <a:cs typeface="Adobe Arabic" panose="02040503050201020203" pitchFamily="18" charset="-78"/>
              <a:sym typeface="Helvetica Neue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C7FC3E8E-073A-FA51-4794-85BE2272983E}"/>
              </a:ext>
            </a:extLst>
          </p:cNvPr>
          <p:cNvGrpSpPr/>
          <p:nvPr/>
        </p:nvGrpSpPr>
        <p:grpSpPr>
          <a:xfrm>
            <a:off x="3249625" y="1724939"/>
            <a:ext cx="5692750" cy="3296177"/>
            <a:chOff x="1596524" y="1900467"/>
            <a:chExt cx="6000596" cy="3474424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39ED290-3BF0-85FF-2C0C-33A5210A3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596524" y="2296616"/>
              <a:ext cx="5950949" cy="2852521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AA40FAA-1C01-A72B-C5B6-1C735A11716A}"/>
                </a:ext>
              </a:extLst>
            </p:cNvPr>
            <p:cNvSpPr txBox="1"/>
            <p:nvPr/>
          </p:nvSpPr>
          <p:spPr>
            <a:xfrm>
              <a:off x="1614487" y="1900467"/>
              <a:ext cx="1060450" cy="324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400" b="1" dirty="0">
                  <a:solidFill>
                    <a:srgbClr val="262E61"/>
                  </a:solidFill>
                  <a:latin typeface="Calibri-Bold"/>
                  <a:sym typeface="Helvetica Neue"/>
                </a:rPr>
                <a:t>Outcome</a:t>
              </a:r>
              <a:endParaRPr lang="en-US" sz="1400" dirty="0">
                <a:solidFill>
                  <a:srgbClr val="262E61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0E01860-E155-D7A6-0D43-B4E8628130B0}"/>
                </a:ext>
              </a:extLst>
            </p:cNvPr>
            <p:cNvSpPr txBox="1"/>
            <p:nvPr/>
          </p:nvSpPr>
          <p:spPr>
            <a:xfrm>
              <a:off x="2778019" y="1900467"/>
              <a:ext cx="2076450" cy="324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400" b="1" dirty="0">
                  <a:solidFill>
                    <a:srgbClr val="262E61"/>
                  </a:solidFill>
                  <a:latin typeface="Calibri-Bold"/>
                  <a:sym typeface="Helvetica Neue"/>
                </a:rPr>
                <a:t>Treatment strategy</a:t>
              </a:r>
              <a:endParaRPr lang="en-US" sz="1400" dirty="0">
                <a:solidFill>
                  <a:srgbClr val="262E61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23DF168-5E7C-6C72-B411-A33D7436544D}"/>
                </a:ext>
              </a:extLst>
            </p:cNvPr>
            <p:cNvSpPr txBox="1"/>
            <p:nvPr/>
          </p:nvSpPr>
          <p:spPr>
            <a:xfrm>
              <a:off x="5434015" y="1900467"/>
              <a:ext cx="1301750" cy="324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400" b="1" dirty="0">
                  <a:solidFill>
                    <a:srgbClr val="262E61"/>
                  </a:solidFill>
                  <a:latin typeface="Calibri-Bold"/>
                  <a:sym typeface="Helvetica Neue"/>
                </a:rPr>
                <a:t>HR (95% CI)</a:t>
              </a:r>
              <a:endParaRPr lang="en-US" sz="1400" dirty="0">
                <a:solidFill>
                  <a:srgbClr val="262E61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3046CFB-9725-72B8-3E05-10321BB24A45}"/>
                </a:ext>
              </a:extLst>
            </p:cNvPr>
            <p:cNvSpPr txBox="1"/>
            <p:nvPr/>
          </p:nvSpPr>
          <p:spPr>
            <a:xfrm>
              <a:off x="7113260" y="1900467"/>
              <a:ext cx="292101" cy="324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400" b="1" dirty="0">
                  <a:solidFill>
                    <a:srgbClr val="262E61"/>
                  </a:solidFill>
                  <a:latin typeface="Calibri-Bold"/>
                  <a:sym typeface="Helvetica Neue"/>
                </a:rPr>
                <a:t>p</a:t>
              </a:r>
              <a:endParaRPr lang="en-US" sz="1400" dirty="0">
                <a:solidFill>
                  <a:srgbClr val="262E61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EC6FCE-6955-13FF-31E1-0448B53B42FF}"/>
                </a:ext>
              </a:extLst>
            </p:cNvPr>
            <p:cNvSpPr txBox="1"/>
            <p:nvPr/>
          </p:nvSpPr>
          <p:spPr>
            <a:xfrm>
              <a:off x="1614487" y="2589888"/>
              <a:ext cx="1247775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Any CV events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72A8035-8AAE-8BDA-3E46-C74BCB24F2FF}"/>
                </a:ext>
              </a:extLst>
            </p:cNvPr>
            <p:cNvSpPr txBox="1"/>
            <p:nvPr/>
          </p:nvSpPr>
          <p:spPr>
            <a:xfrm>
              <a:off x="1614487" y="3107029"/>
              <a:ext cx="1123949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Heart failure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0EBDC0A-8AAB-007F-F694-AC9FA2C0CFFC}"/>
                </a:ext>
              </a:extLst>
            </p:cNvPr>
            <p:cNvSpPr txBox="1"/>
            <p:nvPr/>
          </p:nvSpPr>
          <p:spPr>
            <a:xfrm>
              <a:off x="1614487" y="3514877"/>
              <a:ext cx="194310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erebrovascular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 disease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CE4BA96-5B8E-8710-81BE-19652E325B3E}"/>
                </a:ext>
              </a:extLst>
            </p:cNvPr>
            <p:cNvSpPr txBox="1"/>
            <p:nvPr/>
          </p:nvSpPr>
          <p:spPr>
            <a:xfrm>
              <a:off x="1614487" y="4028646"/>
              <a:ext cx="18605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Ischemic heart 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disease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CE53480-5199-3B80-A0EE-19DD37EE1253}"/>
                </a:ext>
              </a:extLst>
            </p:cNvPr>
            <p:cNvSpPr txBox="1"/>
            <p:nvPr/>
          </p:nvSpPr>
          <p:spPr>
            <a:xfrm>
              <a:off x="1614487" y="4599645"/>
              <a:ext cx="627385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Death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82569FC-3DC8-32CE-5AA5-718F12A13DE5}"/>
                </a:ext>
              </a:extLst>
            </p:cNvPr>
            <p:cNvSpPr txBox="1"/>
            <p:nvPr/>
          </p:nvSpPr>
          <p:spPr>
            <a:xfrm>
              <a:off x="2778019" y="2497555"/>
              <a:ext cx="17208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Monotherapy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ombination therapy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F290C7F-345E-2F83-F390-97A6724D461B}"/>
                </a:ext>
              </a:extLst>
            </p:cNvPr>
            <p:cNvSpPr txBox="1"/>
            <p:nvPr/>
          </p:nvSpPr>
          <p:spPr>
            <a:xfrm>
              <a:off x="2778019" y="3014696"/>
              <a:ext cx="17208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Monotherapy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ombination therapy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5DB449F-500E-79B8-9579-2585050D912E}"/>
                </a:ext>
              </a:extLst>
            </p:cNvPr>
            <p:cNvSpPr txBox="1"/>
            <p:nvPr/>
          </p:nvSpPr>
          <p:spPr>
            <a:xfrm>
              <a:off x="2778019" y="3514877"/>
              <a:ext cx="15430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Monotherapy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ombination therapy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7B0167F-6D62-2E21-495A-C4C814B60645}"/>
                </a:ext>
              </a:extLst>
            </p:cNvPr>
            <p:cNvSpPr txBox="1"/>
            <p:nvPr/>
          </p:nvSpPr>
          <p:spPr>
            <a:xfrm>
              <a:off x="2778019" y="4028647"/>
              <a:ext cx="15430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Monotherapy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ombination therapy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F969BB7-F0CD-B233-54E3-DE1EAF7F1A2F}"/>
                </a:ext>
              </a:extLst>
            </p:cNvPr>
            <p:cNvSpPr txBox="1"/>
            <p:nvPr/>
          </p:nvSpPr>
          <p:spPr>
            <a:xfrm>
              <a:off x="2778019" y="4507311"/>
              <a:ext cx="1543050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Monotherapy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Combination therapy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CD463AB-F515-AC52-A66C-5C42EF43C288}"/>
                </a:ext>
              </a:extLst>
            </p:cNvPr>
            <p:cNvSpPr txBox="1"/>
            <p:nvPr/>
          </p:nvSpPr>
          <p:spPr>
            <a:xfrm>
              <a:off x="5485895" y="2497555"/>
              <a:ext cx="1189037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.00 (Ref)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84 (0.79-0.90)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E8DA6AC-E6E2-FA9B-B541-63D83445CEBC}"/>
                </a:ext>
              </a:extLst>
            </p:cNvPr>
            <p:cNvSpPr txBox="1"/>
            <p:nvPr/>
          </p:nvSpPr>
          <p:spPr>
            <a:xfrm>
              <a:off x="5496217" y="3014696"/>
              <a:ext cx="1189037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.00 (Ref)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65 (0.51-0.82)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7D104D0-0279-C440-F8F3-02B02C023216}"/>
                </a:ext>
              </a:extLst>
            </p:cNvPr>
            <p:cNvSpPr txBox="1"/>
            <p:nvPr/>
          </p:nvSpPr>
          <p:spPr>
            <a:xfrm>
              <a:off x="5434015" y="3514876"/>
              <a:ext cx="1247775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.00 (Ref)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85 (0.74-0.98)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3EE5A42-D388-B2A0-B286-6CF8464076D8}"/>
                </a:ext>
              </a:extLst>
            </p:cNvPr>
            <p:cNvSpPr txBox="1"/>
            <p:nvPr/>
          </p:nvSpPr>
          <p:spPr>
            <a:xfrm>
              <a:off x="5434015" y="4028647"/>
              <a:ext cx="1189037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.00 (Ref)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80 (0.71-0.91)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C7E4C6A-A588-C0E8-FDA2-8A530688289E}"/>
                </a:ext>
              </a:extLst>
            </p:cNvPr>
            <p:cNvSpPr txBox="1"/>
            <p:nvPr/>
          </p:nvSpPr>
          <p:spPr>
            <a:xfrm>
              <a:off x="5434015" y="4507311"/>
              <a:ext cx="1189037" cy="4541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.00 (Ref)</a:t>
              </a:r>
            </a:p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80 (0.72-0.89)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F21D66C-D17A-A958-9FB4-6E4E0B22E72F}"/>
                </a:ext>
              </a:extLst>
            </p:cNvPr>
            <p:cNvSpPr txBox="1"/>
            <p:nvPr/>
          </p:nvSpPr>
          <p:spPr>
            <a:xfrm>
              <a:off x="6922760" y="2570322"/>
              <a:ext cx="673100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&lt;0.001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AD691A8-A578-1972-258C-DFD16BC62312}"/>
                </a:ext>
              </a:extLst>
            </p:cNvPr>
            <p:cNvSpPr txBox="1"/>
            <p:nvPr/>
          </p:nvSpPr>
          <p:spPr>
            <a:xfrm>
              <a:off x="6922760" y="3105267"/>
              <a:ext cx="673100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&lt;0.001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25A0EC9-CAD0-F5EB-7589-C8BB331BD081}"/>
                </a:ext>
              </a:extLst>
            </p:cNvPr>
            <p:cNvSpPr txBox="1"/>
            <p:nvPr/>
          </p:nvSpPr>
          <p:spPr>
            <a:xfrm>
              <a:off x="6924020" y="4120979"/>
              <a:ext cx="673100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&lt;0.001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FD9D151-BA4B-D1F3-41D5-30248FD52264}"/>
                </a:ext>
              </a:extLst>
            </p:cNvPr>
            <p:cNvSpPr txBox="1"/>
            <p:nvPr/>
          </p:nvSpPr>
          <p:spPr>
            <a:xfrm>
              <a:off x="6917670" y="4599643"/>
              <a:ext cx="673100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&lt;0.001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40FEF309-DCD4-A8E4-1896-7B2F75F4EEA8}"/>
                </a:ext>
              </a:extLst>
            </p:cNvPr>
            <p:cNvSpPr txBox="1"/>
            <p:nvPr/>
          </p:nvSpPr>
          <p:spPr>
            <a:xfrm>
              <a:off x="6917670" y="3607209"/>
              <a:ext cx="576262" cy="275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027</a:t>
              </a:r>
              <a:endParaRPr lang="en-US" sz="11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7AC27B8-B5B7-C8D6-45CD-7450FC359759}"/>
                </a:ext>
              </a:extLst>
            </p:cNvPr>
            <p:cNvSpPr txBox="1"/>
            <p:nvPr/>
          </p:nvSpPr>
          <p:spPr>
            <a:xfrm>
              <a:off x="4109931" y="5070213"/>
              <a:ext cx="486890" cy="2919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0.5</a:t>
              </a:r>
              <a:endParaRPr lang="en-US" sz="12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40F3814-F9FF-79D7-B9F0-B588187676F3}"/>
                </a:ext>
              </a:extLst>
            </p:cNvPr>
            <p:cNvSpPr txBox="1"/>
            <p:nvPr/>
          </p:nvSpPr>
          <p:spPr>
            <a:xfrm>
              <a:off x="5107501" y="5082913"/>
              <a:ext cx="254513" cy="2919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1</a:t>
              </a:r>
              <a:endParaRPr lang="en-US" sz="12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21AAF03-1B57-194B-065B-19C15381FACB}"/>
                </a:ext>
              </a:extLst>
            </p:cNvPr>
            <p:cNvSpPr txBox="1"/>
            <p:nvPr/>
          </p:nvSpPr>
          <p:spPr>
            <a:xfrm>
              <a:off x="6028533" y="5070213"/>
              <a:ext cx="254513" cy="2919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 pitchFamily="34" charset="0"/>
                  <a:sym typeface="Helvetica Neue"/>
                </a:rPr>
                <a:t>2</a:t>
              </a:r>
              <a:endParaRPr lang="en-US" sz="1200" dirty="0">
                <a:solidFill>
                  <a:prstClr val="black"/>
                </a:solidFill>
                <a:latin typeface="Calibri" panose="020F0502020204030204"/>
                <a:sym typeface="Helvetica Neue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F09CDAC6-93AF-4634-4D92-D30CBB9AD580}"/>
              </a:ext>
            </a:extLst>
          </p:cNvPr>
          <p:cNvSpPr txBox="1"/>
          <p:nvPr/>
        </p:nvSpPr>
        <p:spPr>
          <a:xfrm>
            <a:off x="2700996" y="5067877"/>
            <a:ext cx="67900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9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Hazard ratios (HR) and 95% CI estimating the risk of cardiovascular (CV) outcomes and death between patients with</a:t>
            </a:r>
          </a:p>
          <a:p>
            <a:pPr algn="ctr" defTabSz="457200">
              <a:defRPr/>
            </a:pPr>
            <a:r>
              <a:rPr lang="en-US" sz="900" dirty="0">
                <a:solidFill>
                  <a:srgbClr val="333333"/>
                </a:solidFill>
                <a:latin typeface="Calibri" panose="020F0502020204030204" pitchFamily="34" charset="0"/>
                <a:sym typeface="Helvetica Neue"/>
              </a:rPr>
              <a:t>initial antihypertensive monotherapy and initial 2-drug single pill combination therapy.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61571FD-83B9-4DB7-CF4E-6BB04E9C114E}"/>
              </a:ext>
            </a:extLst>
          </p:cNvPr>
          <p:cNvSpPr txBox="1"/>
          <p:nvPr/>
        </p:nvSpPr>
        <p:spPr>
          <a:xfrm>
            <a:off x="2614974" y="5426623"/>
            <a:ext cx="6962048" cy="5539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000" dirty="0">
                <a:solidFill>
                  <a:prstClr val="black"/>
                </a:solidFill>
                <a:latin typeface="Calibri-Light"/>
                <a:sym typeface="Helvetica Neue"/>
              </a:rPr>
              <a:t>During 3-year follow-up of 19627 patients, significant reduction in the risk of hospitalization for all considered outcomes displayed</a:t>
            </a:r>
          </a:p>
          <a:p>
            <a:pPr defTabSz="457200">
              <a:defRPr/>
            </a:pPr>
            <a:r>
              <a:rPr lang="en-US" sz="1000" dirty="0">
                <a:solidFill>
                  <a:prstClr val="black"/>
                </a:solidFill>
                <a:latin typeface="Calibri-Light"/>
                <a:sym typeface="Helvetica Neue"/>
              </a:rPr>
              <a:t>in patients prescribed an initial single pill 2-drug combination vs. patients with initial monotherapy and remaining on monotherapy.</a:t>
            </a:r>
          </a:p>
          <a:p>
            <a:pPr defTabSz="457200">
              <a:defRPr/>
            </a:pPr>
            <a:r>
              <a:rPr lang="en-US" sz="1000" dirty="0">
                <a:solidFill>
                  <a:prstClr val="black"/>
                </a:solidFill>
                <a:latin typeface="Calibri-Light"/>
                <a:sym typeface="Helvetica Neue"/>
              </a:rPr>
              <a:t>The risk reduction was largest for heart failure.</a:t>
            </a:r>
            <a:endParaRPr lang="en-US" sz="10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981EE2-9D33-6B94-A348-C1AE462AC0CC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C99829-FBEA-6318-3FD2-F94FC66D5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4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860900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C7374C-FC46-FEA8-B6B4-C8AD56810B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135591"/>
            <a:ext cx="8591550" cy="25980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35C207-6B1F-9D2E-B91A-964D1D566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556" y="6153291"/>
            <a:ext cx="3105761" cy="5691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FA2491-74E8-55D3-95E2-D9E6A91A5B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4780" y="2931659"/>
            <a:ext cx="5907045" cy="2828726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E4998C-7ED5-738A-D16C-6CF4C9577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5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0406167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5C207-6B1F-9D2E-B91A-964D1D566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331" y="5915166"/>
            <a:ext cx="3105761" cy="569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E8E0371-7DC1-9217-3AB0-31D2C751B0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3811" y="85725"/>
            <a:ext cx="4669632" cy="65266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22BC024-0585-565A-A3B3-2ADDBBFBB3AE}"/>
              </a:ext>
            </a:extLst>
          </p:cNvPr>
          <p:cNvSpPr txBox="1"/>
          <p:nvPr/>
        </p:nvSpPr>
        <p:spPr>
          <a:xfrm>
            <a:off x="791766" y="2540430"/>
            <a:ext cx="423209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20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Blood pressure-lowering treatment at 12 weeks and 52 weeks in intervention and control group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5333075-F0B8-8C77-5BDB-E36243FF7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6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873051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5C207-6B1F-9D2E-B91A-964D1D566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9556" y="6153291"/>
            <a:ext cx="3105761" cy="569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8958AD-2CD0-3441-2D59-A0C553C85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6787" y="486082"/>
            <a:ext cx="8067368" cy="54735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9C86A1-AA33-36C6-6C13-EBE9778CA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7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9915964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5C207-6B1F-9D2E-B91A-964D1D566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9556" y="6153291"/>
            <a:ext cx="3105761" cy="5691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D8031BF-064F-198E-79E7-E011B7B41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2245" y="586771"/>
            <a:ext cx="8616789" cy="42362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C3C261E-FA2C-5C69-2552-CE263F735561}"/>
              </a:ext>
            </a:extLst>
          </p:cNvPr>
          <p:cNvSpPr txBox="1"/>
          <p:nvPr/>
        </p:nvSpPr>
        <p:spPr>
          <a:xfrm>
            <a:off x="2574437" y="5026488"/>
            <a:ext cx="60960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27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 Tolerability at 12 week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6C0B7E-4000-BDB8-E4AD-27BDB446B0C0}"/>
              </a:ext>
            </a:extLst>
          </p:cNvPr>
          <p:cNvSpPr txBox="1"/>
          <p:nvPr/>
        </p:nvSpPr>
        <p:spPr>
          <a:xfrm>
            <a:off x="1133475" y="1227565"/>
            <a:ext cx="9925050" cy="3000821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285750" indent="-285750" defTabSz="1219169" hangingPunct="0">
              <a:buFont typeface="Arial" panose="020B0604020202020204" pitchFamily="34" charset="0"/>
              <a:buChar char="•"/>
            </a:pPr>
            <a:r>
              <a:rPr lang="en-US" sz="27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Early treatment of a fixed-dose quadruple quarter-dose combination achieved and maintained greater blood pressure lowering compared with the common strategy of starting monotherapy. </a:t>
            </a:r>
          </a:p>
          <a:p>
            <a:pPr marL="285750" indent="-285750" defTabSz="1219169" hangingPunct="0">
              <a:buFont typeface="Arial" panose="020B0604020202020204" pitchFamily="34" charset="0"/>
              <a:buChar char="•"/>
            </a:pPr>
            <a:endParaRPr lang="en-US" sz="27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sym typeface="Helvetica Neue"/>
            </a:endParaRPr>
          </a:p>
          <a:p>
            <a:pPr marL="285750" indent="-285750" defTabSz="1219169" hangingPunct="0">
              <a:buFont typeface="Arial" panose="020B0604020202020204" pitchFamily="34" charset="0"/>
              <a:buChar char="•"/>
            </a:pPr>
            <a:r>
              <a:rPr lang="en-US" sz="27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This trial demonstrated the efficacy, tolerability, and simplicity of a </a:t>
            </a:r>
            <a:r>
              <a:rPr lang="en-US" sz="27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quadpill</a:t>
            </a:r>
            <a:r>
              <a:rPr lang="en-US" sz="27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-based strategy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C0F52B4-AEEC-CD8F-E3E0-DDC5E8165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5BDD129A-C4F4-44DC-A6A2-236E812E7F47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48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81715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6" name="free equivalents rather than a single-pill combination"/>
          <p:cNvSpPr txBox="1">
            <a:spLocks noGrp="1"/>
          </p:cNvSpPr>
          <p:nvPr>
            <p:ph type="title"/>
          </p:nvPr>
        </p:nvSpPr>
        <p:spPr>
          <a:xfrm>
            <a:off x="838200" y="472634"/>
            <a:ext cx="10515600" cy="773210"/>
          </a:xfrm>
          <a:prstGeom prst="rect">
            <a:avLst/>
          </a:prstGeom>
          <a:solidFill>
            <a:srgbClr val="FFFFFF"/>
          </a:solidFill>
          <a:ln w="25400">
            <a:noFill/>
            <a:round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3900">
                <a:solidFill>
                  <a:srgbClr val="5E5E5E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rPr lang="en-US" sz="3000" dirty="0"/>
              <a:t>F</a:t>
            </a:r>
            <a:r>
              <a:rPr sz="3000" dirty="0"/>
              <a:t>ree equivalents rather than a single-pill combin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A104E4-B7C6-4704-0037-FAD7F2CADE3C}"/>
              </a:ext>
            </a:extLst>
          </p:cNvPr>
          <p:cNvSpPr txBox="1"/>
          <p:nvPr/>
        </p:nvSpPr>
        <p:spPr>
          <a:xfrm>
            <a:off x="838200" y="1977508"/>
            <a:ext cx="8623041" cy="430887"/>
          </a:xfrm>
          <a:prstGeom prst="rect">
            <a:avLst/>
          </a:prstGeom>
          <a:solidFill>
            <a:srgbClr val="002060"/>
          </a:solidFill>
          <a:ln w="12700" cap="flat">
            <a:noFill/>
            <a:miter lim="4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1219169" hangingPunct="0"/>
            <a:r>
              <a:rPr lang="en-US" sz="2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"/>
                <a:sym typeface="Helvetica Neue"/>
              </a:rPr>
              <a:t>In patients with a history of multiple drug allergies or intolera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5BDAC4-F78A-92DD-1260-A0A38B23909F}"/>
              </a:ext>
            </a:extLst>
          </p:cNvPr>
          <p:cNvSpPr txBox="1"/>
          <p:nvPr/>
        </p:nvSpPr>
        <p:spPr>
          <a:xfrm>
            <a:off x="838200" y="2530732"/>
            <a:ext cx="6097555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lvl="1" indent="228600" defTabSz="228600" hangingPunct="0">
              <a:spcBef>
                <a:spcPts val="100"/>
              </a:spcBef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1200" kern="0" dirty="0">
                <a:solidFill>
                  <a:srgbClr val="5E5E5E"/>
                </a:solidFill>
                <a:latin typeface="Helvetica Neue"/>
                <a:sym typeface="Helvetica"/>
              </a:rPr>
              <a:t>starting with one drug and then adding a second agent several weeks later makes it less complicat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33E0EF-A64D-8E39-CBF1-5091FF4E627D}"/>
              </a:ext>
            </a:extLst>
          </p:cNvPr>
          <p:cNvSpPr txBox="1"/>
          <p:nvPr/>
        </p:nvSpPr>
        <p:spPr>
          <a:xfrm>
            <a:off x="838200" y="3527050"/>
            <a:ext cx="4256315" cy="430887"/>
          </a:xfrm>
          <a:prstGeom prst="rect">
            <a:avLst/>
          </a:prstGeom>
          <a:solidFill>
            <a:srgbClr val="002060"/>
          </a:solidFill>
          <a:ln w="12700" cap="flat">
            <a:noFill/>
            <a:miter lim="4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1219169" hangingPunct="0"/>
            <a:r>
              <a:rPr lang="en-US" sz="2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"/>
                <a:sym typeface="Helvetica Neue"/>
              </a:rPr>
              <a:t>Complex cases of hyperten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9D50F1-0114-F2EE-5C7A-654DEB186D5D}"/>
              </a:ext>
            </a:extLst>
          </p:cNvPr>
          <p:cNvSpPr txBox="1"/>
          <p:nvPr/>
        </p:nvSpPr>
        <p:spPr>
          <a:xfrm>
            <a:off x="1062135" y="4139592"/>
            <a:ext cx="6962969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1219169" hangingPunct="0"/>
            <a:r>
              <a:rPr lang="en-US" sz="1200" kern="0" dirty="0">
                <a:solidFill>
                  <a:srgbClr val="5E5E5E"/>
                </a:solidFill>
                <a:latin typeface="Helvetica Neue"/>
                <a:sym typeface="Helvetica Neue"/>
              </a:rPr>
              <a:t>ie, patients with renovascular or other secondary forms of hypertension</a:t>
            </a:r>
          </a:p>
          <a:p>
            <a:pPr defTabSz="1219169" hangingPunct="0"/>
            <a:r>
              <a:rPr lang="en-US" sz="1200" kern="0" dirty="0">
                <a:solidFill>
                  <a:srgbClr val="5E5E5E"/>
                </a:solidFill>
                <a:latin typeface="Helvetica Neue"/>
                <a:sym typeface="Helvetica Neue"/>
              </a:rPr>
              <a:t>because they are simpler to titrate when frequent dose adjustment is needed,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11A9782-117C-7ACC-E0C0-07F7CCFAE245}"/>
              </a:ext>
            </a:extLst>
          </p:cNvPr>
          <p:cNvSpPr/>
          <p:nvPr/>
        </p:nvSpPr>
        <p:spPr>
          <a:xfrm>
            <a:off x="1212980" y="4932005"/>
            <a:ext cx="8733453" cy="1092498"/>
          </a:xfrm>
          <a:prstGeom prst="roundRect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228600" lvl="1" algn="ctr" defTabSz="228600" hangingPunct="0">
              <a:spcBef>
                <a:spcPts val="100"/>
              </a:spcBef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0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"/>
                <a:sym typeface="Helvetica"/>
              </a:rPr>
              <a:t>In each of these settings, the free equivalents can eventually be replaced by a single-pill combination once the blood pressure is controlled and the patient is tolerating therapy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BF36F3-EE04-3872-A598-0B11DFEE16B3}"/>
              </a:ext>
            </a:extLst>
          </p:cNvPr>
          <p:cNvSpPr/>
          <p:nvPr/>
        </p:nvSpPr>
        <p:spPr>
          <a:xfrm>
            <a:off x="251927" y="1960686"/>
            <a:ext cx="410547" cy="418366"/>
          </a:xfrm>
          <a:prstGeom prst="ellipse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r>
              <a:rPr lang="en-US" sz="1600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604BFAE-49EB-8AF8-6151-B28828028FCB}"/>
              </a:ext>
            </a:extLst>
          </p:cNvPr>
          <p:cNvSpPr/>
          <p:nvPr/>
        </p:nvSpPr>
        <p:spPr>
          <a:xfrm>
            <a:off x="251927" y="3527051"/>
            <a:ext cx="410547" cy="418366"/>
          </a:xfrm>
          <a:prstGeom prst="ellipse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r>
              <a:rPr lang="en-US" sz="1600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54F2A1-3D65-3667-5B28-D433EB9F1BD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5335142" y="3084792"/>
            <a:ext cx="341758" cy="369330"/>
          </a:xfrm>
        </p:spPr>
        <p:txBody>
          <a:bodyPr/>
          <a:lstStyle/>
          <a:p>
            <a:pPr hangingPunct="0"/>
            <a:fld id="{86CB4B4D-7CA3-9044-876B-883B54F8677D}" type="slidenum">
              <a:rPr lang="en-US" kern="0"/>
              <a:pPr hangingPunct="0"/>
              <a:t>49</a:t>
            </a:fld>
            <a:endParaRPr lang="en-US" kern="0"/>
          </a:p>
        </p:txBody>
      </p:sp>
    </p:spTree>
    <p:extLst>
      <p:ext uri="{BB962C8B-B14F-4D97-AF65-F5344CB8AC3E}">
        <p14:creationId xmlns:p14="http://schemas.microsoft.com/office/powerpoint/2010/main" val="137378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3E787F-50EA-8D58-210D-E87DCD4A06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7165"/>
          <a:stretch/>
        </p:blipFill>
        <p:spPr>
          <a:xfrm>
            <a:off x="2089638" y="1674202"/>
            <a:ext cx="7753350" cy="429064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2396E8C-C875-4FCF-C567-5D0DF3B817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224" y="214446"/>
            <a:ext cx="11059102" cy="130465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43783B-87BE-3C8C-AF3F-3126A88E0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8239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EDA14BF-992C-ABB6-F9D1-183E20703CD2}"/>
              </a:ext>
            </a:extLst>
          </p:cNvPr>
          <p:cNvSpPr/>
          <p:nvPr/>
        </p:nvSpPr>
        <p:spPr>
          <a:xfrm>
            <a:off x="1103942" y="2377617"/>
            <a:ext cx="10470220" cy="182368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6DF14B-C40F-3509-92BB-DF868EDC0693}"/>
              </a:ext>
            </a:extLst>
          </p:cNvPr>
          <p:cNvSpPr txBox="1"/>
          <p:nvPr/>
        </p:nvSpPr>
        <p:spPr>
          <a:xfrm>
            <a:off x="939263" y="2966291"/>
            <a:ext cx="103134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600" b="1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MONOTHERAPY: WHEN, WHY, WHICH CLASS?</a:t>
            </a:r>
            <a:endParaRPr lang="en-US" sz="2400" b="1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B59031-6A2E-A930-D815-556B4795723B}"/>
              </a:ext>
            </a:extLst>
          </p:cNvPr>
          <p:cNvSpPr/>
          <p:nvPr/>
        </p:nvSpPr>
        <p:spPr>
          <a:xfrm>
            <a:off x="0" y="6386048"/>
            <a:ext cx="12192000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BF38D9-C8E5-2E5A-AAB1-A3BDBD294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0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0791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CBF25D-9208-C468-2A49-ADCA63FC4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6579" y="0"/>
            <a:ext cx="5264332" cy="3543300"/>
          </a:xfrm>
          <a:prstGeom prst="rect">
            <a:avLst/>
          </a:prstGeom>
        </p:spPr>
      </p:pic>
      <p:pic>
        <p:nvPicPr>
          <p:cNvPr id="536" name="Picture 3" descr="Picture 3"/>
          <p:cNvPicPr>
            <a:picLocks noChangeAspect="1"/>
          </p:cNvPicPr>
          <p:nvPr/>
        </p:nvPicPr>
        <p:blipFill>
          <a:blip r:embed="rId3"/>
          <a:srcRect b="44747"/>
          <a:stretch>
            <a:fillRect/>
          </a:stretch>
        </p:blipFill>
        <p:spPr>
          <a:xfrm>
            <a:off x="491215" y="483954"/>
            <a:ext cx="10926226" cy="631784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C1A686C8-98DE-1EED-2E5D-1F33BAC7F5B8}"/>
              </a:ext>
            </a:extLst>
          </p:cNvPr>
          <p:cNvSpPr/>
          <p:nvPr/>
        </p:nvSpPr>
        <p:spPr>
          <a:xfrm>
            <a:off x="5688419" y="3150706"/>
            <a:ext cx="2647507" cy="418366"/>
          </a:xfrm>
          <a:prstGeom prst="ellipse">
            <a:avLst/>
          </a:prstGeom>
          <a:noFill/>
          <a:ln w="127000" cap="flat" cmpd="sng">
            <a:solidFill>
              <a:srgbClr val="C00000"/>
            </a:solidFill>
            <a:miter lim="4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5295014"/>
                      <a:gd name="connsiteY0" fmla="*/ 1169582 h 2339163"/>
                      <a:gd name="connsiteX1" fmla="*/ 2647507 w 5295014"/>
                      <a:gd name="connsiteY1" fmla="*/ 0 h 2339163"/>
                      <a:gd name="connsiteX2" fmla="*/ 5295014 w 5295014"/>
                      <a:gd name="connsiteY2" fmla="*/ 1169582 h 2339163"/>
                      <a:gd name="connsiteX3" fmla="*/ 2647507 w 5295014"/>
                      <a:gd name="connsiteY3" fmla="*/ 2339164 h 2339163"/>
                      <a:gd name="connsiteX4" fmla="*/ 0 w 5295014"/>
                      <a:gd name="connsiteY4" fmla="*/ 1169582 h 23391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95014" h="2339163" extrusionOk="0">
                        <a:moveTo>
                          <a:pt x="0" y="1169582"/>
                        </a:moveTo>
                        <a:cubicBezTo>
                          <a:pt x="-170381" y="418545"/>
                          <a:pt x="1075595" y="41185"/>
                          <a:pt x="2647507" y="0"/>
                        </a:cubicBezTo>
                        <a:cubicBezTo>
                          <a:pt x="4209485" y="21010"/>
                          <a:pt x="5166100" y="527739"/>
                          <a:pt x="5295014" y="1169582"/>
                        </a:cubicBezTo>
                        <a:cubicBezTo>
                          <a:pt x="5233384" y="1875709"/>
                          <a:pt x="4083915" y="2481601"/>
                          <a:pt x="2647507" y="2339164"/>
                        </a:cubicBezTo>
                        <a:cubicBezTo>
                          <a:pt x="1141210" y="2315025"/>
                          <a:pt x="45899" y="1837455"/>
                          <a:pt x="0" y="116958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>
              <a:defRPr/>
            </a:pPr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A61AA3-BDC3-31EE-CBC9-E6FF32F507B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5335142" y="3084792"/>
            <a:ext cx="341758" cy="369330"/>
          </a:xfrm>
        </p:spPr>
        <p:txBody>
          <a:bodyPr/>
          <a:lstStyle/>
          <a:p>
            <a:pPr hangingPunct="0"/>
            <a:fld id="{86CB4B4D-7CA3-9044-876B-883B54F8677D}" type="slidenum">
              <a:rPr lang="en-US" kern="0"/>
              <a:pPr hangingPunct="0"/>
              <a:t>51</a:t>
            </a:fld>
            <a:endParaRPr lang="en-US" kern="0"/>
          </a:p>
        </p:txBody>
      </p:sp>
    </p:spTree>
    <p:extLst>
      <p:ext uri="{BB962C8B-B14F-4D97-AF65-F5344CB8AC3E}">
        <p14:creationId xmlns:p14="http://schemas.microsoft.com/office/powerpoint/2010/main" val="424372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2AE39-D9CF-D7F9-C55F-8E271777E8C7}"/>
              </a:ext>
            </a:extLst>
          </p:cNvPr>
          <p:cNvSpPr/>
          <p:nvPr/>
        </p:nvSpPr>
        <p:spPr>
          <a:xfrm>
            <a:off x="1953898" y="2832567"/>
            <a:ext cx="10090868" cy="967411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00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 Higher CVD event rates with untreated stage 1 hypertension at baseline compared with those with a normal BP.</a:t>
            </a:r>
            <a:endParaRPr lang="en-US" sz="11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C10310F-BBF6-8B1F-F472-EA80C755E2B3}"/>
              </a:ext>
            </a:extLst>
          </p:cNvPr>
          <p:cNvSpPr/>
          <p:nvPr/>
        </p:nvSpPr>
        <p:spPr>
          <a:xfrm>
            <a:off x="265044" y="2513535"/>
            <a:ext cx="1595617" cy="134800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002060"/>
                </a:solidFill>
                <a:latin typeface="Calibri" panose="020F0502020204030204"/>
                <a:sym typeface="Helvetica Neue"/>
              </a:rPr>
              <a:t>25-70%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5311F01-BF1E-3F79-1AB0-5DB687BC933F}"/>
              </a:ext>
            </a:extLst>
          </p:cNvPr>
          <p:cNvSpPr/>
          <p:nvPr/>
        </p:nvSpPr>
        <p:spPr>
          <a:xfrm>
            <a:off x="2077806" y="4076613"/>
            <a:ext cx="9966960" cy="967411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00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Majority of stage 1 hypertension will progress to stage 2 hypertension, with higher risk of ASCVD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48D166-BE7F-8377-ACB6-C88BB2C92B67}"/>
              </a:ext>
            </a:extLst>
          </p:cNvPr>
          <p:cNvSpPr/>
          <p:nvPr/>
        </p:nvSpPr>
        <p:spPr>
          <a:xfrm>
            <a:off x="309384" y="3997315"/>
            <a:ext cx="1551277" cy="134800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002060"/>
                </a:solidFill>
                <a:latin typeface="Calibri" panose="020F0502020204030204"/>
                <a:sym typeface="Helvetica Neue"/>
              </a:rPr>
              <a:t>60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62333F-37E0-251B-F877-FA66C55C4606}"/>
              </a:ext>
            </a:extLst>
          </p:cNvPr>
          <p:cNvSpPr txBox="1"/>
          <p:nvPr/>
        </p:nvSpPr>
        <p:spPr>
          <a:xfrm>
            <a:off x="0" y="648866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90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JAMA. 2018;320:1783–1792.</a:t>
            </a:r>
          </a:p>
          <a:p>
            <a:pPr>
              <a:defRPr/>
            </a:pPr>
            <a:r>
              <a:rPr lang="it-IT" sz="90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Hypertension. 2021;77:e58-e67.</a:t>
            </a:r>
            <a:endParaRPr lang="en-US" sz="9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F37A7A-0A2C-11F8-A6C0-F6A32AD3237F}"/>
              </a:ext>
            </a:extLst>
          </p:cNvPr>
          <p:cNvSpPr txBox="1">
            <a:spLocks/>
          </p:cNvSpPr>
          <p:nvPr/>
        </p:nvSpPr>
        <p:spPr>
          <a:xfrm>
            <a:off x="1306309" y="1228314"/>
            <a:ext cx="9966960" cy="599401"/>
          </a:xfrm>
          <a:prstGeom prst="roundRect">
            <a:avLst>
              <a:gd name="adj" fmla="val 50000"/>
            </a:avLst>
          </a:prstGeom>
          <a:solidFill>
            <a:srgbClr val="9A5071"/>
          </a:solidFill>
          <a:ln>
            <a:noFill/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1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Treatment of stage 1 hypertension even in low-risk patients has CV benefi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D32236-0B3D-AF9B-C6EE-7A6F93ED08E7}"/>
              </a:ext>
            </a:extLst>
          </p:cNvPr>
          <p:cNvSpPr/>
          <p:nvPr/>
        </p:nvSpPr>
        <p:spPr>
          <a:xfrm>
            <a:off x="9364717" y="6410262"/>
            <a:ext cx="2827283" cy="29751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/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4D67D4-C1DE-A2A1-9E8F-D4F48EB3A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2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2884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9" name="●…"/>
          <p:cNvSpPr txBox="1">
            <a:spLocks noGrp="1"/>
          </p:cNvSpPr>
          <p:nvPr>
            <p:ph type="title"/>
          </p:nvPr>
        </p:nvSpPr>
        <p:spPr>
          <a:xfrm>
            <a:off x="838200" y="330215"/>
            <a:ext cx="10515600" cy="1103169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3200" indent="-203200" algn="just" defTabSz="228600">
              <a:lnSpc>
                <a:spcPct val="100000"/>
              </a:lnSpc>
              <a:spcBef>
                <a:spcPts val="100"/>
              </a:spcBef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sz="27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en to initiate treatment with one drug (monotherapy)</a:t>
            </a:r>
          </a:p>
        </p:txBody>
      </p:sp>
      <p:sp>
        <p:nvSpPr>
          <p:cNvPr id="2450" name="stage 1 hypertension (systolic pressure 130 to 139 mmHg and/or diastolic pressure 80 to 89 mmHg)…"/>
          <p:cNvSpPr txBox="1">
            <a:spLocks noGrp="1"/>
          </p:cNvSpPr>
          <p:nvPr>
            <p:ph type="body" idx="1"/>
          </p:nvPr>
        </p:nvSpPr>
        <p:spPr>
          <a:xfrm>
            <a:off x="838200" y="2176447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just" defTabSz="228600">
              <a:lnSpc>
                <a:spcPct val="15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200" dirty="0">
                <a:solidFill>
                  <a:schemeClr val="bg1"/>
                </a:solidFill>
              </a:rPr>
              <a:t>Stage 1 hypertension (SBP 130 to 139 </a:t>
            </a:r>
            <a:r>
              <a:rPr lang="en-US" sz="2200" dirty="0" err="1">
                <a:solidFill>
                  <a:schemeClr val="bg1"/>
                </a:solidFill>
              </a:rPr>
              <a:t>mmhg</a:t>
            </a:r>
            <a:r>
              <a:rPr lang="en-US" sz="2200" dirty="0">
                <a:solidFill>
                  <a:schemeClr val="bg1"/>
                </a:solidFill>
              </a:rPr>
              <a:t> and/or DBP 80 to 89 </a:t>
            </a:r>
            <a:r>
              <a:rPr lang="en-US" sz="2200" dirty="0" err="1">
                <a:solidFill>
                  <a:schemeClr val="bg1"/>
                </a:solidFill>
              </a:rPr>
              <a:t>mmhg</a:t>
            </a:r>
            <a:r>
              <a:rPr lang="en-US" sz="2200" dirty="0">
                <a:solidFill>
                  <a:schemeClr val="bg1"/>
                </a:solidFill>
              </a:rPr>
              <a:t>)</a:t>
            </a:r>
          </a:p>
          <a:p>
            <a:pPr algn="just" defTabSz="228600">
              <a:lnSpc>
                <a:spcPct val="15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endParaRPr lang="en-US" sz="2200" dirty="0">
              <a:solidFill>
                <a:schemeClr val="bg1"/>
              </a:solidFill>
            </a:endParaRPr>
          </a:p>
          <a:p>
            <a:pPr algn="just" defTabSz="228600">
              <a:lnSpc>
                <a:spcPct val="15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200" dirty="0">
                <a:solidFill>
                  <a:schemeClr val="bg1"/>
                </a:solidFill>
              </a:rPr>
              <a:t>For patients who are deemed to be at higher risk for adverse effects:</a:t>
            </a:r>
          </a:p>
          <a:p>
            <a:pPr lvl="1" algn="just" defTabSz="228600">
              <a:lnSpc>
                <a:spcPct val="10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200" dirty="0">
                <a:solidFill>
                  <a:schemeClr val="bg1"/>
                </a:solidFill>
              </a:rPr>
              <a:t>Those adhering to a very low salt intake, </a:t>
            </a:r>
          </a:p>
          <a:p>
            <a:pPr lvl="1" algn="just" defTabSz="228600">
              <a:lnSpc>
                <a:spcPct val="10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200" dirty="0">
                <a:solidFill>
                  <a:schemeClr val="bg1"/>
                </a:solidFill>
              </a:rPr>
              <a:t>Those who are underweight or frail, </a:t>
            </a:r>
          </a:p>
          <a:p>
            <a:pPr lvl="1" algn="just" defTabSz="228600">
              <a:lnSpc>
                <a:spcPct val="100000"/>
              </a:lnSpc>
              <a:spcBef>
                <a:spcPts val="100"/>
              </a:spcBef>
              <a:buSzTx/>
              <a:defRPr sz="1300"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2200" dirty="0">
                <a:solidFill>
                  <a:schemeClr val="bg1"/>
                </a:solidFill>
              </a:rPr>
              <a:t>Those with a known orthostatic decline in blood press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50CA7E-0939-2C14-6F05-AC0EDC33D3B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5335142" y="3084792"/>
            <a:ext cx="341758" cy="369330"/>
          </a:xfrm>
        </p:spPr>
        <p:txBody>
          <a:bodyPr/>
          <a:lstStyle/>
          <a:p>
            <a:pPr hangingPunct="0"/>
            <a:fld id="{86CB4B4D-7CA3-9044-876B-883B54F8677D}" type="slidenum">
              <a:rPr lang="en-US" kern="0"/>
              <a:pPr hangingPunct="0"/>
              <a:t>53</a:t>
            </a:fld>
            <a:endParaRPr lang="en-US" ker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2C57F5A-C8A2-C230-CCD1-8C5262DEE6CF}"/>
              </a:ext>
            </a:extLst>
          </p:cNvPr>
          <p:cNvSpPr/>
          <p:nvPr/>
        </p:nvSpPr>
        <p:spPr>
          <a:xfrm>
            <a:off x="1198605" y="1877801"/>
            <a:ext cx="9069860" cy="78465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r>
              <a:rPr lang="en-US" sz="36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The initial drug dose should generally be low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DB5428C-CAC0-436B-C580-5AEF456D4FAD}"/>
              </a:ext>
            </a:extLst>
          </p:cNvPr>
          <p:cNvSpPr/>
          <p:nvPr/>
        </p:nvSpPr>
        <p:spPr>
          <a:xfrm>
            <a:off x="1922180" y="671553"/>
            <a:ext cx="2357751" cy="76796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ACE/ARB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3584611-B659-E9CF-1761-C6247868685D}"/>
              </a:ext>
            </a:extLst>
          </p:cNvPr>
          <p:cNvSpPr/>
          <p:nvPr/>
        </p:nvSpPr>
        <p:spPr>
          <a:xfrm>
            <a:off x="4715297" y="663533"/>
            <a:ext cx="2357751" cy="76796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CCB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1BBCC63-AF91-B71B-02C2-73E3C4B5FE98}"/>
              </a:ext>
            </a:extLst>
          </p:cNvPr>
          <p:cNvSpPr/>
          <p:nvPr/>
        </p:nvSpPr>
        <p:spPr>
          <a:xfrm>
            <a:off x="7396223" y="644998"/>
            <a:ext cx="2357751" cy="76796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Diure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0C8A24-443B-787A-FF98-9888EDAC3693}"/>
              </a:ext>
            </a:extLst>
          </p:cNvPr>
          <p:cNvSpPr txBox="1"/>
          <p:nvPr/>
        </p:nvSpPr>
        <p:spPr>
          <a:xfrm>
            <a:off x="1921793" y="5375808"/>
            <a:ext cx="75702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kern="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Thus, initiation with a moderate to high dose of an ARB is reasonable because this prevents the need for unnecessary dose titr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8D1048-1FCE-8081-C86F-BFB0A1672999}"/>
              </a:ext>
            </a:extLst>
          </p:cNvPr>
          <p:cNvSpPr txBox="1"/>
          <p:nvPr/>
        </p:nvSpPr>
        <p:spPr>
          <a:xfrm>
            <a:off x="1783865" y="3250971"/>
            <a:ext cx="24960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69" hangingPunct="0"/>
            <a:r>
              <a:rPr lang="en-US" sz="4000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Exception: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214B731-8F80-D400-863A-F4F82B3A5A3F}"/>
              </a:ext>
            </a:extLst>
          </p:cNvPr>
          <p:cNvSpPr/>
          <p:nvPr/>
        </p:nvSpPr>
        <p:spPr>
          <a:xfrm>
            <a:off x="4793557" y="3188082"/>
            <a:ext cx="2357751" cy="76796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sym typeface="Helvetica Neue"/>
              </a:rPr>
              <a:t>ARB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285430B-CE61-D2E1-B819-2359405898B1}"/>
              </a:ext>
            </a:extLst>
          </p:cNvPr>
          <p:cNvSpPr/>
          <p:nvPr/>
        </p:nvSpPr>
        <p:spPr>
          <a:xfrm>
            <a:off x="1752600" y="4544558"/>
            <a:ext cx="8686800" cy="49946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400" kern="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Their maximal antihypertensive effect is moderate in most patients.</a:t>
            </a:r>
            <a:endParaRPr lang="en-US" sz="2400" dirty="0">
              <a:solidFill>
                <a:prstClr val="black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694492-D2E8-37FB-37C6-A57F6F7EF5F8}"/>
              </a:ext>
            </a:extLst>
          </p:cNvPr>
          <p:cNvSpPr txBox="1"/>
          <p:nvPr/>
        </p:nvSpPr>
        <p:spPr>
          <a:xfrm>
            <a:off x="264719" y="6307757"/>
            <a:ext cx="103983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i="1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Clinical Therapeutics. 2004;26:A28-A32.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BE665C9F-45FF-6AE1-2A6E-84E9661FA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4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98327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/>
      <p:bldP spid="13" grpId="0"/>
      <p:bldP spid="14" grpId="0" animBg="1"/>
      <p:bldP spid="15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E971AA-B7E8-6F7E-3557-BD44E63AF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561" y="988951"/>
            <a:ext cx="10826832" cy="474363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6E14D36-C85D-BA01-A18C-D53C5AF0367C}"/>
              </a:ext>
            </a:extLst>
          </p:cNvPr>
          <p:cNvSpPr/>
          <p:nvPr/>
        </p:nvSpPr>
        <p:spPr>
          <a:xfrm>
            <a:off x="6283569" y="1230923"/>
            <a:ext cx="1078524" cy="4067908"/>
          </a:xfrm>
          <a:prstGeom prst="roundRect">
            <a:avLst/>
          </a:prstGeom>
          <a:noFill/>
          <a:ln w="762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endParaRPr lang="en-US" sz="1200" kern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3CA9798-DFBA-64C3-2FAD-EEB1FE019C8E}"/>
              </a:ext>
            </a:extLst>
          </p:cNvPr>
          <p:cNvSpPr/>
          <p:nvPr/>
        </p:nvSpPr>
        <p:spPr>
          <a:xfrm>
            <a:off x="8678193" y="1326813"/>
            <a:ext cx="2854570" cy="4067908"/>
          </a:xfrm>
          <a:prstGeom prst="roundRect">
            <a:avLst>
              <a:gd name="adj" fmla="val 6811"/>
            </a:avLst>
          </a:prstGeom>
          <a:noFill/>
          <a:ln w="762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endParaRPr lang="en-US" sz="1200" kern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C9D9CC7-77A7-C817-C5F9-73332C544425}"/>
              </a:ext>
            </a:extLst>
          </p:cNvPr>
          <p:cNvSpPr/>
          <p:nvPr/>
        </p:nvSpPr>
        <p:spPr>
          <a:xfrm>
            <a:off x="433754" y="2696308"/>
            <a:ext cx="11239685" cy="433754"/>
          </a:xfrm>
          <a:prstGeom prst="roundRect">
            <a:avLst/>
          </a:prstGeom>
          <a:noFill/>
          <a:ln w="762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endParaRPr lang="en-US" sz="1200" kern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FE388F-DA00-2AA7-014D-600ED4C8B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5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64635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8F28124-B8E9-2093-B99F-0DDCD7266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766" y="1676226"/>
            <a:ext cx="9726525" cy="345134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AC90B5-CA82-6295-7863-D5B726A93F6D}"/>
              </a:ext>
            </a:extLst>
          </p:cNvPr>
          <p:cNvSpPr txBox="1"/>
          <p:nvPr/>
        </p:nvSpPr>
        <p:spPr>
          <a:xfrm>
            <a:off x="1791075" y="5238828"/>
            <a:ext cx="7695451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3300" kern="0" dirty="0">
                <a:solidFill>
                  <a:prstClr val="black"/>
                </a:solidFill>
                <a:latin typeface="Calibri" panose="020F0502020204030204"/>
                <a:sym typeface="Helvetica Neue"/>
              </a:rPr>
              <a:t>Bridge to the future of next generation ARB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C4FEEA-31DE-5405-45F3-9B5CAE550EEE}"/>
              </a:ext>
            </a:extLst>
          </p:cNvPr>
          <p:cNvSpPr txBox="1"/>
          <p:nvPr/>
        </p:nvSpPr>
        <p:spPr>
          <a:xfrm>
            <a:off x="283910" y="624360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Hypertension Research (2009) 32, 826–83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391F00-F3F0-0F81-A2C2-A5A49C336D09}"/>
              </a:ext>
            </a:extLst>
          </p:cNvPr>
          <p:cNvSpPr txBox="1"/>
          <p:nvPr/>
        </p:nvSpPr>
        <p:spPr>
          <a:xfrm>
            <a:off x="1749296" y="614397"/>
            <a:ext cx="7737230" cy="1107996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33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Next generation multifunctional angiotensin receptor blocker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DCE48EC-5052-CB0E-EEFC-022C2C4AD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6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814967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1477AA5-6101-892B-9D86-F64388D7A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081" y="1065822"/>
            <a:ext cx="10081477" cy="182477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8579EFD-C72F-C656-958E-477874BB14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04" y="4251936"/>
            <a:ext cx="11087193" cy="10295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C574F2-49B4-EFCC-7788-4C5836B166DA}"/>
              </a:ext>
            </a:extLst>
          </p:cNvPr>
          <p:cNvSpPr txBox="1"/>
          <p:nvPr/>
        </p:nvSpPr>
        <p:spPr>
          <a:xfrm>
            <a:off x="82247" y="6179379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2000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Cardiovascular Diabetology 2007, 6:28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3812678-9F32-A49C-8575-D41A42386846}"/>
              </a:ext>
            </a:extLst>
          </p:cNvPr>
          <p:cNvSpPr/>
          <p:nvPr/>
        </p:nvSpPr>
        <p:spPr>
          <a:xfrm>
            <a:off x="1562100" y="4924425"/>
            <a:ext cx="6096000" cy="357036"/>
          </a:xfrm>
          <a:prstGeom prst="roundRect">
            <a:avLst/>
          </a:prstGeom>
          <a:noFill/>
          <a:ln w="762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69" hangingPunct="0"/>
            <a:endParaRPr lang="en-US" sz="1200" kern="0">
              <a:solidFill>
                <a:prstClr val="whit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31C97E8-59A2-F3B3-4907-E87B27BEE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7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50020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E8607A-1E73-F04A-3D70-7FA1FD5E3A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5264" y="337205"/>
            <a:ext cx="9169338" cy="165892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448B1A-90EE-7969-E476-2BD2C33B37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2332425"/>
            <a:ext cx="7508631" cy="36876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8DF4FB7-B687-4A67-F8F0-77632760D2B8}"/>
              </a:ext>
            </a:extLst>
          </p:cNvPr>
          <p:cNvSpPr txBox="1"/>
          <p:nvPr/>
        </p:nvSpPr>
        <p:spPr>
          <a:xfrm>
            <a:off x="375139" y="2924483"/>
            <a:ext cx="3083170" cy="1785104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22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Comparison of the ability of ARBs to activate peroxisome proliferator activated receptor gamma (PPARª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B4A733-3121-0D2E-9833-03CC7DA62193}"/>
              </a:ext>
            </a:extLst>
          </p:cNvPr>
          <p:cNvSpPr txBox="1"/>
          <p:nvPr/>
        </p:nvSpPr>
        <p:spPr>
          <a:xfrm>
            <a:off x="142875" y="6356350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16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Journal of Hypertension 2004, Vol 22 No 12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5C6AD4-E606-773D-CC02-BC7363F3D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8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9394647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310B96-D1F4-A8B0-D27D-9B4D6C617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633" y="1822876"/>
            <a:ext cx="9351164" cy="41588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6CE8FA-1B20-9726-9CAC-5BD119F18079}"/>
              </a:ext>
            </a:extLst>
          </p:cNvPr>
          <p:cNvSpPr txBox="1"/>
          <p:nvPr/>
        </p:nvSpPr>
        <p:spPr>
          <a:xfrm>
            <a:off x="981075" y="447586"/>
            <a:ext cx="10325100" cy="1200329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24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Potential influence of telmisartan on pathways that are likely primarily to mediate the anti-atherosclerotic effects of PPARª activation and angiotensin II receptor blockad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C42B8-9337-DB8A-A063-57A887020781}"/>
              </a:ext>
            </a:extLst>
          </p:cNvPr>
          <p:cNvSpPr txBox="1"/>
          <p:nvPr/>
        </p:nvSpPr>
        <p:spPr>
          <a:xfrm>
            <a:off x="333375" y="6264221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en-US" sz="1600" kern="0" dirty="0">
                <a:solidFill>
                  <a:prstClr val="white"/>
                </a:solidFill>
                <a:latin typeface="Calibri" panose="020F0502020204030204"/>
                <a:sym typeface="Helvetica Neue"/>
              </a:rPr>
              <a:t>Journal of Hypertension 2004, Vol 22 No 12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8F01F-B305-461D-FE06-C3F5975EC7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59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23890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Text Box 1">
            <a:extLst>
              <a:ext uri="{FF2B5EF4-FFF2-40B4-BE49-F238E27FC236}">
                <a16:creationId xmlns:a16="http://schemas.microsoft.com/office/drawing/2014/main" id="{A226974D-2F4A-56B0-76C7-01B8BF60AB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8995" y="381641"/>
            <a:ext cx="8494012" cy="614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pPr algn="ctr"/>
            <a:r>
              <a:rPr lang="en-GB" altLang="en-US" sz="2000" b="1" dirty="0">
                <a:solidFill>
                  <a:srgbClr val="FFC000"/>
                </a:solidFill>
                <a:latin typeface="Arial" panose="020B0604020202020204" pitchFamily="34" charset="0"/>
              </a:rPr>
              <a:t>Relative risk estimates of coronary heart disease events in single drug blood pressure difference trials according to drug (β blockers or other), presence of CHD, and for β blockers according to acute myocardial infarction on entry.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32F0741E-EF15-A341-AC52-02412B1EE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5349" y="5878698"/>
            <a:ext cx="1142040" cy="750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4EA3B9F8-6C27-0458-071E-5ABBD2310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576" y="1681299"/>
            <a:ext cx="9167912" cy="3717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076" name="Text Box 4">
            <a:extLst>
              <a:ext uri="{FF2B5EF4-FFF2-40B4-BE49-F238E27FC236}">
                <a16:creationId xmlns:a16="http://schemas.microsoft.com/office/drawing/2014/main" id="{4C6B5D9F-BBC1-CE75-6609-8823C53D5E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94631" y="5972308"/>
            <a:ext cx="3918652" cy="231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r>
              <a:rPr lang="en-GB" altLang="en-US" sz="1600" b="1" dirty="0">
                <a:solidFill>
                  <a:schemeClr val="bg1"/>
                </a:solidFill>
                <a:latin typeface="Arial" panose="020B0604020202020204" pitchFamily="34" charset="0"/>
              </a:rPr>
              <a:t>M R Law et al. BMJ 2009;338:bmj.b1665</a:t>
            </a:r>
          </a:p>
        </p:txBody>
      </p:sp>
      <p:sp>
        <p:nvSpPr>
          <p:cNvPr id="3077" name="Text Box 5">
            <a:extLst>
              <a:ext uri="{FF2B5EF4-FFF2-40B4-BE49-F238E27FC236}">
                <a16:creationId xmlns:a16="http://schemas.microsoft.com/office/drawing/2014/main" id="{7E63731D-A762-F92A-221E-650D8EDED8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1451" y="6613175"/>
            <a:ext cx="4931078" cy="347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85725" indent="-85725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r>
              <a:rPr lang="en-GB" alt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©2009 by British Medical Journal Publishing Group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2864A83-68E5-EF54-7317-129A4AF9FCD6}"/>
              </a:ext>
            </a:extLst>
          </p:cNvPr>
          <p:cNvSpPr/>
          <p:nvPr/>
        </p:nvSpPr>
        <p:spPr>
          <a:xfrm>
            <a:off x="1289539" y="2146626"/>
            <a:ext cx="9167912" cy="86620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E71123-CD94-1BE4-30AC-E303B3121B80}"/>
              </a:ext>
            </a:extLst>
          </p:cNvPr>
          <p:cNvSpPr txBox="1"/>
          <p:nvPr/>
        </p:nvSpPr>
        <p:spPr>
          <a:xfrm>
            <a:off x="905416" y="3540254"/>
            <a:ext cx="10130232" cy="1077218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ter myocardial infarction, BB (except atenolol) reduced the risk of recurrent coronary artery disease events by 31%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42F518-78BE-CF59-6F59-AD7AE38E4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29597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3F47B8-4EE9-5359-9389-F19225AAB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45" y="567348"/>
            <a:ext cx="7490311" cy="19277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D2F1A6-E1D8-A69D-4286-EA51A9C556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651" y="3268419"/>
            <a:ext cx="5443538" cy="23145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5FFB60-2EE8-F505-B9F1-BE1FD47F3E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8816" y="3429000"/>
            <a:ext cx="5157334" cy="1572358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6ECCC94-DD07-4569-4AB0-856534FBE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60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9419589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5FA0C5-4AAD-8260-A4C1-256643A737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828" y="451888"/>
            <a:ext cx="9190344" cy="52847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2F51AB6-155E-4A68-FEA6-C46D0BB06CEE}"/>
              </a:ext>
            </a:extLst>
          </p:cNvPr>
          <p:cNvSpPr txBox="1"/>
          <p:nvPr/>
        </p:nvSpPr>
        <p:spPr>
          <a:xfrm>
            <a:off x="2297723" y="5931079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69" hangingPunct="0"/>
            <a:r>
              <a:rPr lang="nl-NL" sz="2000" kern="0" dirty="0">
                <a:solidFill>
                  <a:srgbClr val="5E5E5E"/>
                </a:solidFill>
                <a:latin typeface="Calibri" panose="020F0502020204030204"/>
                <a:sym typeface="Helvetica Neue"/>
              </a:rPr>
              <a:t>www.thelancet.com Vol 392 September 8, 2018</a:t>
            </a:r>
            <a:endParaRPr lang="en-US" sz="2000" kern="0" dirty="0">
              <a:solidFill>
                <a:srgbClr val="5E5E5E"/>
              </a:solidFill>
              <a:latin typeface="Calibri" panose="020F0502020204030204"/>
              <a:sym typeface="Helvetica Neue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A2ACF0-3893-C745-5A25-828698E7F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61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3178522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07F4B3-7BB4-0F41-00FC-B344521C54B1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FF0000"/>
          </a:solidFill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ke Home messa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345FDB-324F-33A2-1B14-8A5818B66A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5013"/>
            <a:ext cx="10515600" cy="392906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Combination single pill is preferred for the treatment of most adults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SPC significantly increases compliance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The initial drug dose should generally be low except ARBs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Telmisartan has the highest half life among ARBs and suitable for early morning BP surge and 24 hours coverage.</a:t>
            </a:r>
          </a:p>
          <a:p>
            <a:pPr>
              <a:lnSpc>
                <a:spcPct val="15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EB783-AA1E-6DB8-B0FC-480359804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891CD69E-D186-41CB-A6B2-AF1A7FFAF1C3}" type="slidenum">
              <a:rPr lang="en-US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62</a:t>
            </a:fld>
            <a:endParaRPr lang="en-US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1327255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AC04854-2FA7-4470-B52E-CCCA37EC0B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2018"/>
            <a:ext cx="12192000" cy="6760375"/>
          </a:xfrm>
          <a:prstGeom prst="rect">
            <a:avLst/>
          </a:prstGeom>
        </p:spPr>
      </p:pic>
      <p:sp>
        <p:nvSpPr>
          <p:cNvPr id="5" name="Title 10">
            <a:extLst>
              <a:ext uri="{FF2B5EF4-FFF2-40B4-BE49-F238E27FC236}">
                <a16:creationId xmlns:a16="http://schemas.microsoft.com/office/drawing/2014/main" id="{AD205A6C-0012-429F-80BB-9D0CFA644EC3}"/>
              </a:ext>
            </a:extLst>
          </p:cNvPr>
          <p:cNvSpPr txBox="1">
            <a:spLocks/>
          </p:cNvSpPr>
          <p:nvPr/>
        </p:nvSpPr>
        <p:spPr>
          <a:xfrm>
            <a:off x="2108907" y="1324364"/>
            <a:ext cx="7543800" cy="914400"/>
          </a:xfrm>
          <a:prstGeom prst="rect">
            <a:avLst/>
          </a:prstGeom>
          <a:solidFill>
            <a:srgbClr val="FF0000">
              <a:alpha val="65000"/>
            </a:srgb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900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defRPr/>
            </a:pPr>
            <a:r>
              <a:rPr lang="en-US" sz="4000" dirty="0">
                <a:solidFill>
                  <a:srgbClr val="FFFF00"/>
                </a:solidFill>
                <a:latin typeface="Calibri"/>
                <a:sym typeface="Helvetica Neue"/>
              </a:rPr>
              <a:t>Thanks For Your Atten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5E6C61-1158-563C-6F6B-37C1A0985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69" hangingPunct="0"/>
            <a:fld id="{980E94A8-0648-D043-B8F7-3AFA110B04BE}" type="slidenum">
              <a:rPr lang="fr-FR" kern="0">
                <a:solidFill>
                  <a:prstClr val="black">
                    <a:tint val="75000"/>
                  </a:prstClr>
                </a:solidFill>
                <a:latin typeface="Calibri" panose="020F0502020204030204"/>
                <a:sym typeface="Helvetica Neue"/>
              </a:rPr>
              <a:pPr defTabSz="1219169" hangingPunct="0"/>
              <a:t>63</a:t>
            </a:fld>
            <a:endParaRPr lang="fr-FR" kern="0">
              <a:solidFill>
                <a:prstClr val="black">
                  <a:tint val="75000"/>
                </a:prstClr>
              </a:solidFill>
              <a:latin typeface="Calibri" panose="020F0502020204030204"/>
              <a:sym typeface="Helvetica Neue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1477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EFC4B-4031-3D89-AD6E-0CBBF64A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486" y="267153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Antihypertensive treatment in CAD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E1A422-1DD7-0C43-60FA-06A7F0ED31FB}"/>
              </a:ext>
            </a:extLst>
          </p:cNvPr>
          <p:cNvSpPr/>
          <p:nvPr/>
        </p:nvSpPr>
        <p:spPr>
          <a:xfrm>
            <a:off x="1113692" y="1974980"/>
            <a:ext cx="2323481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RAS block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8299CDB-9F0F-C5D8-595A-C08F1781CE0C}"/>
              </a:ext>
            </a:extLst>
          </p:cNvPr>
          <p:cNvSpPr/>
          <p:nvPr/>
        </p:nvSpPr>
        <p:spPr>
          <a:xfrm>
            <a:off x="1113692" y="3098146"/>
            <a:ext cx="2323481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eta-block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24E4CC-CC49-C6DC-7AFF-A574CE062EA4}"/>
              </a:ext>
            </a:extLst>
          </p:cNvPr>
          <p:cNvSpPr/>
          <p:nvPr/>
        </p:nvSpPr>
        <p:spPr>
          <a:xfrm>
            <a:off x="1113692" y="4221312"/>
            <a:ext cx="2323481" cy="636494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CB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0D662B1-8461-47F7-0808-872157975383}"/>
              </a:ext>
            </a:extLst>
          </p:cNvPr>
          <p:cNvSpPr/>
          <p:nvPr/>
        </p:nvSpPr>
        <p:spPr>
          <a:xfrm>
            <a:off x="3871960" y="1999065"/>
            <a:ext cx="3091548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↓CV mortalit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DDEA4-9DAB-96DF-AB22-8121DF706049}"/>
              </a:ext>
            </a:extLst>
          </p:cNvPr>
          <p:cNvSpPr/>
          <p:nvPr/>
        </p:nvSpPr>
        <p:spPr>
          <a:xfrm>
            <a:off x="3871960" y="3115097"/>
            <a:ext cx="4088010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600" dirty="0">
                <a:solidFill>
                  <a:prstClr val="white"/>
                </a:solidFill>
              </a:rPr>
              <a:t>↓ the risk of recurrent CAD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834E9D1-B8A3-39EF-E8D4-2F6ECBB315C4}"/>
              </a:ext>
            </a:extLst>
          </p:cNvPr>
          <p:cNvSpPr/>
          <p:nvPr/>
        </p:nvSpPr>
        <p:spPr>
          <a:xfrm>
            <a:off x="3871960" y="4231129"/>
            <a:ext cx="3959056" cy="636494"/>
          </a:xfrm>
          <a:prstGeom prst="round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600" dirty="0">
                <a:solidFill>
                  <a:prstClr val="white"/>
                </a:solidFill>
              </a:rPr>
              <a:t>For symptom relief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6E88BE-FB6A-F336-8349-B4A1A42CF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757" y="1999065"/>
            <a:ext cx="3090663" cy="302077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CC2F89-A90E-E56F-7FD6-239FA2D87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408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BB14E6-FE4B-D613-2027-4D32E50419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675" y="485775"/>
            <a:ext cx="7629525" cy="429796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16B93C7-3F32-9125-F215-74063279F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450" y="4783741"/>
            <a:ext cx="7397750" cy="1985962"/>
          </a:xfrm>
        </p:spPr>
        <p:txBody>
          <a:bodyPr/>
          <a:lstStyle/>
          <a:p>
            <a:r>
              <a:rPr lang="en-US" dirty="0"/>
              <a:t>Chronic heart failure</a:t>
            </a:r>
            <a:br>
              <a:rPr lang="en-US" dirty="0"/>
            </a:b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8B0D0D-D65B-A8AA-02FD-CCB83F1B0A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354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9ABD331-786D-B416-FEB4-2F1D44D8D0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948" y="1882153"/>
            <a:ext cx="10487025" cy="39128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0E57EE-6058-BC51-41E3-A0BA6834E2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797" y="132046"/>
            <a:ext cx="9077325" cy="1906238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D0151A-4022-01D9-B0D3-2F0604C3856B}"/>
              </a:ext>
            </a:extLst>
          </p:cNvPr>
          <p:cNvSpPr txBox="1"/>
          <p:nvPr/>
        </p:nvSpPr>
        <p:spPr>
          <a:xfrm>
            <a:off x="2686049" y="5141373"/>
            <a:ext cx="6457951" cy="830997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10 mmHg reduction in office SBP was associated with a decrease in relative risk of HF by 28%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01D0E6E-2B3B-09D3-6715-2813EF4050A2}"/>
              </a:ext>
            </a:extLst>
          </p:cNvPr>
          <p:cNvSpPr/>
          <p:nvPr/>
        </p:nvSpPr>
        <p:spPr>
          <a:xfrm>
            <a:off x="962027" y="3600450"/>
            <a:ext cx="8886823" cy="23812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FC1A8F-2025-FF77-BAFA-1D52DD60D703}"/>
              </a:ext>
            </a:extLst>
          </p:cNvPr>
          <p:cNvSpPr txBox="1"/>
          <p:nvPr/>
        </p:nvSpPr>
        <p:spPr>
          <a:xfrm>
            <a:off x="904874" y="6033302"/>
            <a:ext cx="103250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/>
              <a:t>Blood pressure lowering for prevention of cardiovascular disease and death: a systematic review and meta-analysis. The Lancet. 2016;387(10022):957-67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E3EB30-E9CD-F2B5-5DCC-CC08577BE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1C7FE-DD43-4287-B358-47B2BAD498D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950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AeIbCRaywcDrEZ_6U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AeIbCRaywcDrEZ_6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ISPRING_SLIDE_INDENT_LEVEL" val="0"/>
  <p:tag name="GENSWF_ADVANCE_TIME" val="16.299"/>
  <p:tag name="ISPRING_SLIDE_ID_2" val="{AA4DC301-31BC-4E6F-A122-680414831F06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3_BasicWhite">
  <a:themeElements>
    <a:clrScheme name="22_BasicWhite">
      <a:dk1>
        <a:srgbClr val="5E5E5E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2_BasicWhit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22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2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5</TotalTime>
  <Words>2157</Words>
  <Application>Microsoft Office PowerPoint</Application>
  <PresentationFormat>Widescreen</PresentationFormat>
  <Paragraphs>328</Paragraphs>
  <Slides>63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3</vt:i4>
      </vt:variant>
    </vt:vector>
  </HeadingPairs>
  <TitlesOfParts>
    <vt:vector size="84" baseType="lpstr">
      <vt:lpstr>Arial</vt:lpstr>
      <vt:lpstr>Calibri</vt:lpstr>
      <vt:lpstr>Calibri Light</vt:lpstr>
      <vt:lpstr>Calibri-Bold</vt:lpstr>
      <vt:lpstr>Calibri-Light</vt:lpstr>
      <vt:lpstr>Helvetica</vt:lpstr>
      <vt:lpstr>Helvetica Neue</vt:lpstr>
      <vt:lpstr>Helvetica Neue Medium</vt:lpstr>
      <vt:lpstr>Roboto</vt:lpstr>
      <vt:lpstr>Segoe UI</vt:lpstr>
      <vt:lpstr>System Font Regular</vt:lpstr>
      <vt:lpstr>Wingdings</vt:lpstr>
      <vt:lpstr>Office Theme</vt:lpstr>
      <vt:lpstr>1_Office Theme</vt:lpstr>
      <vt:lpstr>23_BasicWhite</vt:lpstr>
      <vt:lpstr>5_Office Theme</vt:lpstr>
      <vt:lpstr>2_Office Theme</vt:lpstr>
      <vt:lpstr>3_Office Theme</vt:lpstr>
      <vt:lpstr>22_BasicWhite</vt:lpstr>
      <vt:lpstr>Diapositive think-cell</vt:lpstr>
      <vt:lpstr>think-cell Slide</vt:lpstr>
      <vt:lpstr>Hypertension management in patients with cardiovascular diseases</vt:lpstr>
      <vt:lpstr>Outline</vt:lpstr>
      <vt:lpstr>Coronary Artery Disease</vt:lpstr>
      <vt:lpstr>Coronary Artery Disease</vt:lpstr>
      <vt:lpstr>PowerPoint Presentation</vt:lpstr>
      <vt:lpstr>PowerPoint Presentation</vt:lpstr>
      <vt:lpstr>Antihypertensive treatment in CAD</vt:lpstr>
      <vt:lpstr>Chronic heart failure </vt:lpstr>
      <vt:lpstr>PowerPoint Presentation</vt:lpstr>
      <vt:lpstr>PowerPoint Presentation</vt:lpstr>
      <vt:lpstr>PowerPoint Presentation</vt:lpstr>
      <vt:lpstr>PowerPoint Presentation</vt:lpstr>
      <vt:lpstr>Antihypertensive treatment in HFrEF</vt:lpstr>
      <vt:lpstr>RAS inhibitors and kidneys in HFrEF</vt:lpstr>
      <vt:lpstr>Combination angiotensin receptor-neprilysin inhibitors</vt:lpstr>
      <vt:lpstr>Heart failure with preserved ejection fraction</vt:lpstr>
      <vt:lpstr>PowerPoint Presentation</vt:lpstr>
      <vt:lpstr>Previous stroke or TIA</vt:lpstr>
      <vt:lpstr>PowerPoint Presentation</vt:lpstr>
      <vt:lpstr>PowerPoint Presentation</vt:lpstr>
      <vt:lpstr>Antihypertensive treatment in TIA and stroke</vt:lpstr>
      <vt:lpstr>PowerPoint Presentation</vt:lpstr>
      <vt:lpstr>PowerPoint Presentation</vt:lpstr>
      <vt:lpstr>Hypertension in Atrial fibrillation</vt:lpstr>
      <vt:lpstr>PowerPoint Presentation</vt:lpstr>
      <vt:lpstr>PowerPoint Presentation</vt:lpstr>
      <vt:lpstr>PowerPoint Presentation</vt:lpstr>
      <vt:lpstr>PowerPoint Presentation</vt:lpstr>
      <vt:lpstr>Aortic valve stenosis</vt:lpstr>
      <vt:lpstr>High BP and risk of Aortic valve stenosis</vt:lpstr>
      <vt:lpstr>PowerPoint Presentation</vt:lpstr>
      <vt:lpstr>Antihypertensive treatment in 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ree equivalents rather than a single-pill combination</vt:lpstr>
      <vt:lpstr>PowerPoint Presentation</vt:lpstr>
      <vt:lpstr>PowerPoint Presentation</vt:lpstr>
      <vt:lpstr>PowerPoint Presentation</vt:lpstr>
      <vt:lpstr>When to initiate treatment with one drug (monotherapy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ake Home messag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pertension management in patients with cardiovascular diseases</dc:title>
  <dc:creator>shahrokh ezzatzadegan</dc:creator>
  <cp:lastModifiedBy>shahrokh ezzatzadegan</cp:lastModifiedBy>
  <cp:revision>96</cp:revision>
  <dcterms:created xsi:type="dcterms:W3CDTF">2023-05-12T13:36:01Z</dcterms:created>
  <dcterms:modified xsi:type="dcterms:W3CDTF">2023-05-18T06:42:27Z</dcterms:modified>
</cp:coreProperties>
</file>